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0" r:id="rId4"/>
  </p:sldMasterIdLst>
  <p:notesMasterIdLst>
    <p:notesMasterId r:id="rId50"/>
  </p:notesMasterIdLst>
  <p:sldIdLst>
    <p:sldId id="414" r:id="rId5"/>
    <p:sldId id="451" r:id="rId6"/>
    <p:sldId id="487" r:id="rId7"/>
    <p:sldId id="460" r:id="rId8"/>
    <p:sldId id="461" r:id="rId9"/>
    <p:sldId id="491" r:id="rId10"/>
    <p:sldId id="462" r:id="rId11"/>
    <p:sldId id="499" r:id="rId12"/>
    <p:sldId id="463" r:id="rId13"/>
    <p:sldId id="455" r:id="rId14"/>
    <p:sldId id="456" r:id="rId15"/>
    <p:sldId id="457" r:id="rId16"/>
    <p:sldId id="486" r:id="rId17"/>
    <p:sldId id="485" r:id="rId18"/>
    <p:sldId id="465" r:id="rId19"/>
    <p:sldId id="466" r:id="rId20"/>
    <p:sldId id="467" r:id="rId21"/>
    <p:sldId id="468" r:id="rId22"/>
    <p:sldId id="469" r:id="rId23"/>
    <p:sldId id="470" r:id="rId24"/>
    <p:sldId id="471" r:id="rId25"/>
    <p:sldId id="472" r:id="rId26"/>
    <p:sldId id="473" r:id="rId27"/>
    <p:sldId id="496" r:id="rId28"/>
    <p:sldId id="497" r:id="rId29"/>
    <p:sldId id="474" r:id="rId30"/>
    <p:sldId id="475" r:id="rId31"/>
    <p:sldId id="476" r:id="rId32"/>
    <p:sldId id="477" r:id="rId33"/>
    <p:sldId id="478" r:id="rId34"/>
    <p:sldId id="492" r:id="rId35"/>
    <p:sldId id="493" r:id="rId36"/>
    <p:sldId id="494" r:id="rId37"/>
    <p:sldId id="479" r:id="rId38"/>
    <p:sldId id="500" r:id="rId39"/>
    <p:sldId id="482" r:id="rId40"/>
    <p:sldId id="501" r:id="rId41"/>
    <p:sldId id="483" r:id="rId42"/>
    <p:sldId id="484" r:id="rId43"/>
    <p:sldId id="454" r:id="rId44"/>
    <p:sldId id="453" r:id="rId45"/>
    <p:sldId id="405" r:id="rId46"/>
    <p:sldId id="489" r:id="rId47"/>
    <p:sldId id="490" r:id="rId48"/>
    <p:sldId id="276" r:id="rId49"/>
  </p:sldIdLst>
  <p:sldSz cx="12192000" cy="6858000"/>
  <p:notesSz cx="6858000" cy="9144000"/>
  <p:embeddedFontLst>
    <p:embeddedFont>
      <p:font typeface="Elevance Sans" pitchFamily="2" charset="77"/>
      <p:regular r:id="rId51"/>
      <p:bold r:id="rId52"/>
      <p:italic r:id="rId53"/>
      <p:boldItalic r:id="rId54"/>
    </p:embeddedFont>
    <p:embeddedFont>
      <p:font typeface="Elevance Sans Italic" pitchFamily="2" charset="77"/>
      <p:bold r:id="rId55"/>
      <p:italic r:id="rId56"/>
      <p:boldItalic r:id="rId57"/>
    </p:embeddedFont>
    <p:embeddedFont>
      <p:font typeface="Elevance Sans Medium" pitchFamily="2" charset="77"/>
      <p:regular r:id="rId58"/>
      <p:italic r:id="rId59"/>
    </p:embeddedFont>
  </p:embeddedFontLst>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4AB31C7-495C-E0B4-754D-BEB52653A0B6}" name="Guest User" initials="GU" userId="S::urn:spo:anon#b8d1c180406f60aa8d48cf3098e554ab10991fc21ec9e43f3a8ebfb31c4e1f1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100"/>
    <p:restoredTop sz="95034"/>
  </p:normalViewPr>
  <p:slideViewPr>
    <p:cSldViewPr snapToGrid="0" snapToObjects="1">
      <p:cViewPr varScale="1">
        <p:scale>
          <a:sx n="121" d="100"/>
          <a:sy n="121" d="100"/>
        </p:scale>
        <p:origin x="968" y="184"/>
      </p:cViewPr>
      <p:guideLst/>
    </p:cSldViewPr>
  </p:slideViewPr>
  <p:outlineViewPr>
    <p:cViewPr>
      <p:scale>
        <a:sx n="33" d="100"/>
        <a:sy n="33" d="100"/>
      </p:scale>
      <p:origin x="0" y="-51752"/>
    </p:cViewPr>
  </p:outlineViewPr>
  <p:notesTextViewPr>
    <p:cViewPr>
      <p:scale>
        <a:sx n="3" d="2"/>
        <a:sy n="3" d="2"/>
      </p:scale>
      <p:origin x="0" y="0"/>
    </p:cViewPr>
  </p:notesTextViewPr>
  <p:sorterViewPr>
    <p:cViewPr varScale="1">
      <p:scale>
        <a:sx n="1" d="1"/>
        <a:sy n="1" d="1"/>
      </p:scale>
      <p:origin x="0" y="-9581"/>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font" Target="fonts/font5.fntdata"/><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3.fntdata"/><Relationship Id="rId58" Type="http://schemas.openxmlformats.org/officeDocument/2006/relationships/font" Target="fonts/font8.fntdata"/><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6.fntdata"/><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font" Target="fonts/font1.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9.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4.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7.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2.fntdata"/><Relationship Id="rId60" Type="http://schemas.openxmlformats.org/officeDocument/2006/relationships/tags" Target="tags/tag1.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Elevance Sans" pitchFamily="2" charset="77"/>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Elevance Sans" pitchFamily="2" charset="77"/>
              </a:defRPr>
            </a:lvl1pPr>
          </a:lstStyle>
          <a:p>
            <a:fld id="{40C36D6C-D64D-5C49-BA05-1247137E2D8B}" type="datetimeFigureOut">
              <a:rPr lang="en-US" smtClean="0"/>
              <a:pPr/>
              <a:t>5/2/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Elevance Sans" pitchFamily="2" charset="77"/>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Elevance Sans" pitchFamily="2" charset="77"/>
              </a:defRPr>
            </a:lvl1pPr>
          </a:lstStyle>
          <a:p>
            <a:fld id="{FF050AAF-C99E-5E47-BF9E-3FBCE85A751F}" type="slidenum">
              <a:rPr lang="en-US" smtClean="0"/>
              <a:pPr/>
              <a:t>‹#›</a:t>
            </a:fld>
            <a:endParaRPr lang="en-US" dirty="0"/>
          </a:p>
        </p:txBody>
      </p:sp>
    </p:spTree>
    <p:extLst>
      <p:ext uri="{BB962C8B-B14F-4D97-AF65-F5344CB8AC3E}">
        <p14:creationId xmlns:p14="http://schemas.microsoft.com/office/powerpoint/2010/main" val="418684562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Elevance Sans" pitchFamily="2" charset="77"/>
        <a:ea typeface="+mn-ea"/>
        <a:cs typeface="+mn-cs"/>
      </a:defRPr>
    </a:lvl1pPr>
    <a:lvl2pPr marL="457200" algn="l" defTabSz="914400" rtl="0" eaLnBrk="1" latinLnBrk="0" hangingPunct="1">
      <a:defRPr sz="1200" b="0" i="0" kern="1200">
        <a:solidFill>
          <a:schemeClr val="tx1"/>
        </a:solidFill>
        <a:latin typeface="Elevance Sans" pitchFamily="2" charset="77"/>
        <a:ea typeface="+mn-ea"/>
        <a:cs typeface="+mn-cs"/>
      </a:defRPr>
    </a:lvl2pPr>
    <a:lvl3pPr marL="914400" algn="l" defTabSz="914400" rtl="0" eaLnBrk="1" latinLnBrk="0" hangingPunct="1">
      <a:defRPr sz="1200" b="0" i="0" kern="1200">
        <a:solidFill>
          <a:schemeClr val="tx1"/>
        </a:solidFill>
        <a:latin typeface="Elevance Sans" pitchFamily="2" charset="77"/>
        <a:ea typeface="+mn-ea"/>
        <a:cs typeface="+mn-cs"/>
      </a:defRPr>
    </a:lvl3pPr>
    <a:lvl4pPr marL="1371600" algn="l" defTabSz="914400" rtl="0" eaLnBrk="1" latinLnBrk="0" hangingPunct="1">
      <a:defRPr sz="1200" b="0" i="0" kern="1200">
        <a:solidFill>
          <a:schemeClr val="tx1"/>
        </a:solidFill>
        <a:latin typeface="Elevance Sans" pitchFamily="2" charset="77"/>
        <a:ea typeface="+mn-ea"/>
        <a:cs typeface="+mn-cs"/>
      </a:defRPr>
    </a:lvl4pPr>
    <a:lvl5pPr marL="1828800" algn="l" defTabSz="914400" rtl="0" eaLnBrk="1" latinLnBrk="0" hangingPunct="1">
      <a:defRPr sz="1200" b="0" i="0" kern="1200">
        <a:solidFill>
          <a:schemeClr val="tx1"/>
        </a:solidFill>
        <a:latin typeface="Elevance Sans"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F050AAF-C99E-5E47-BF9E-3FBCE85A751F}" type="slidenum">
              <a:rPr lang="en-US" smtClean="0"/>
              <a:t>42</a:t>
            </a:fld>
            <a:endParaRPr lang="en-US" dirty="0"/>
          </a:p>
        </p:txBody>
      </p:sp>
    </p:spTree>
    <p:extLst>
      <p:ext uri="{BB962C8B-B14F-4D97-AF65-F5344CB8AC3E}">
        <p14:creationId xmlns:p14="http://schemas.microsoft.com/office/powerpoint/2010/main" val="13410474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4.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4.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5.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17.svg"/><Relationship Id="rId5" Type="http://schemas.openxmlformats.org/officeDocument/2006/relationships/image" Target="../media/image12.png"/><Relationship Id="rId4" Type="http://schemas.openxmlformats.org/officeDocument/2006/relationships/image" Target="../media/image1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18.svg"/><Relationship Id="rId5" Type="http://schemas.openxmlformats.org/officeDocument/2006/relationships/image" Target="../media/image12.png"/><Relationship Id="rId4" Type="http://schemas.openxmlformats.org/officeDocument/2006/relationships/image" Target="../media/image1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8.svg"/><Relationship Id="rId5" Type="http://schemas.openxmlformats.org/officeDocument/2006/relationships/image" Target="../media/image12.png"/><Relationship Id="rId4" Type="http://schemas.openxmlformats.org/officeDocument/2006/relationships/image" Target="../media/image16.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9.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11403806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9" y="4517136"/>
            <a:ext cx="5638800" cy="228600"/>
          </a:xfrm>
          <a:prstGeom prst="rect">
            <a:avLst/>
          </a:prstGeo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ext Placeholder 11">
            <a:extLst>
              <a:ext uri="{FF2B5EF4-FFF2-40B4-BE49-F238E27FC236}">
                <a16:creationId xmlns:a16="http://schemas.microsoft.com/office/drawing/2014/main" id="{1FF0BD0F-29F1-5746-9751-EC930E120D34}"/>
              </a:ext>
            </a:extLst>
          </p:cNvPr>
          <p:cNvSpPr>
            <a:spLocks noGrp="1"/>
          </p:cNvSpPr>
          <p:nvPr>
            <p:ph type="body" sz="quarter" idx="11" hasCustomPrompt="1"/>
          </p:nvPr>
        </p:nvSpPr>
        <p:spPr>
          <a:xfrm>
            <a:off x="415089" y="4758997"/>
            <a:ext cx="5638800" cy="224536"/>
          </a:xfrm>
          <a:prstGeom prst="rect">
            <a:avLst/>
          </a:prstGeom>
        </p:spPr>
        <p:txBody>
          <a:bodyPr vert="horz" lIns="0" tIns="0" rIns="0" bIns="0" rtlCol="0">
            <a:noAutofit/>
          </a:bodyPr>
          <a:lstStyle>
            <a:lvl1pPr>
              <a:defRPr lang="en-US" sz="1800" i="0" dirty="0">
                <a:latin typeface="+mn-lt"/>
              </a:defRPr>
            </a:lvl1pPr>
          </a:lstStyle>
          <a:p>
            <a:pPr lvl="0"/>
            <a:r>
              <a:rPr lang="en-US" dirty="0"/>
              <a:t>Click to add date</a:t>
            </a:r>
          </a:p>
        </p:txBody>
      </p:sp>
      <p:sp>
        <p:nvSpPr>
          <p:cNvPr id="10" name="Title 1">
            <a:extLst>
              <a:ext uri="{FF2B5EF4-FFF2-40B4-BE49-F238E27FC236}">
                <a16:creationId xmlns:a16="http://schemas.microsoft.com/office/drawing/2014/main" id="{42A56EB4-D385-CA47-98BE-9B9C64B5BD70}"/>
              </a:ext>
            </a:extLst>
          </p:cNvPr>
          <p:cNvSpPr>
            <a:spLocks noGrp="1"/>
          </p:cNvSpPr>
          <p:nvPr>
            <p:ph type="ctrTitle" hasCustomPrompt="1"/>
          </p:nvPr>
        </p:nvSpPr>
        <p:spPr>
          <a:xfrm>
            <a:off x="415089" y="2587226"/>
            <a:ext cx="8349500" cy="1567689"/>
          </a:xfrm>
        </p:spPr>
        <p:txBody>
          <a:bodyPr vert="horz" anchor="b" anchorCtr="0"/>
          <a:lstStyle>
            <a:lvl1pPr algn="l">
              <a:defRPr sz="5200">
                <a:solidFill>
                  <a:schemeClr val="tx1"/>
                </a:solidFill>
              </a:defRPr>
            </a:lvl1pPr>
          </a:lstStyle>
          <a:p>
            <a:r>
              <a:rPr lang="en-US" dirty="0"/>
              <a:t>Click to add</a:t>
            </a:r>
            <a:br>
              <a:rPr lang="en-US" dirty="0"/>
            </a:br>
            <a:r>
              <a:rPr lang="en-US" dirty="0"/>
              <a:t>presentation title</a:t>
            </a:r>
          </a:p>
        </p:txBody>
      </p:sp>
      <p:pic>
        <p:nvPicPr>
          <p:cNvPr id="4" name="Graphic 3">
            <a:extLst>
              <a:ext uri="{FF2B5EF4-FFF2-40B4-BE49-F238E27FC236}">
                <a16:creationId xmlns:a16="http://schemas.microsoft.com/office/drawing/2014/main" id="{46BE3430-6BAC-4F1E-03E0-39D1B7DE2C0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6061" y="578755"/>
            <a:ext cx="1786364" cy="463576"/>
          </a:xfrm>
          <a:prstGeom prst="rect">
            <a:avLst/>
          </a:prstGeom>
        </p:spPr>
      </p:pic>
    </p:spTree>
    <p:extLst>
      <p:ext uri="{BB962C8B-B14F-4D97-AF65-F5344CB8AC3E}">
        <p14:creationId xmlns:p14="http://schemas.microsoft.com/office/powerpoint/2010/main" val="34213785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lvl1pPr>
              <a:defRPr>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199" y="1694048"/>
            <a:ext cx="11274552" cy="4313052"/>
          </a:xfrm>
        </p:spPr>
        <p:txBody>
          <a:bodyPr vert="horz" lIns="0" tIns="0" rIns="0" bIns="0" rtlCol="0">
            <a:no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vl5pPr>
              <a:defRPr lang="en-US" dirty="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41129BB6-0921-694D-A4A8-DD9B3AD0260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9" name="Text Placeholder 3">
            <a:extLst>
              <a:ext uri="{FF2B5EF4-FFF2-40B4-BE49-F238E27FC236}">
                <a16:creationId xmlns:a16="http://schemas.microsoft.com/office/drawing/2014/main" id="{D1DA31F3-BA6F-D5D4-B1BD-B2DDB0FD2D40}"/>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383178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73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dirty="0"/>
              <a:t>Click to edit master title style</a:t>
            </a:r>
          </a:p>
        </p:txBody>
      </p:sp>
      <p:sp>
        <p:nvSpPr>
          <p:cNvPr id="6" name="Content Placeholder 5">
            <a:extLst>
              <a:ext uri="{FF2B5EF4-FFF2-40B4-BE49-F238E27FC236}">
                <a16:creationId xmlns:a16="http://schemas.microsoft.com/office/drawing/2014/main" id="{6FE5EBD5-3136-174B-831A-04B8DF69E5D6}"/>
              </a:ext>
            </a:extLst>
          </p:cNvPr>
          <p:cNvSpPr>
            <a:spLocks noGrp="1"/>
          </p:cNvSpPr>
          <p:nvPr>
            <p:ph sz="quarter" idx="11" hasCustomPrompt="1"/>
          </p:nvPr>
        </p:nvSpPr>
        <p:spPr>
          <a:xfrm>
            <a:off x="457199" y="1691640"/>
            <a:ext cx="5529263" cy="431546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5">
            <a:extLst>
              <a:ext uri="{FF2B5EF4-FFF2-40B4-BE49-F238E27FC236}">
                <a16:creationId xmlns:a16="http://schemas.microsoft.com/office/drawing/2014/main" id="{A1E52CE3-22DF-5A41-9EAD-D5575B3917AE}"/>
              </a:ext>
            </a:extLst>
          </p:cNvPr>
          <p:cNvSpPr>
            <a:spLocks noGrp="1"/>
          </p:cNvSpPr>
          <p:nvPr>
            <p:ph sz="quarter" idx="12" hasCustomPrompt="1"/>
          </p:nvPr>
        </p:nvSpPr>
        <p:spPr>
          <a:xfrm>
            <a:off x="6215063" y="1691640"/>
            <a:ext cx="5529263" cy="431546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a:extLst>
              <a:ext uri="{FF2B5EF4-FFF2-40B4-BE49-F238E27FC236}">
                <a16:creationId xmlns:a16="http://schemas.microsoft.com/office/drawing/2014/main" id="{E8D6001F-20E3-BCD0-83D6-DA5BCD046B35}"/>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4751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8206909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a:xfrm>
            <a:off x="457200" y="384048"/>
            <a:ext cx="11274552" cy="822960"/>
          </a:xfrm>
        </p:spPr>
        <p:txBody>
          <a:bodyPr/>
          <a:lstStyle/>
          <a:p>
            <a:r>
              <a:rPr lang="en-US" dirty="0"/>
              <a:t>Click to edit master title style</a:t>
            </a:r>
          </a:p>
        </p:txBody>
      </p:sp>
      <p:sp>
        <p:nvSpPr>
          <p:cNvPr id="10" name="Text Placeholder 3">
            <a:extLst>
              <a:ext uri="{FF2B5EF4-FFF2-40B4-BE49-F238E27FC236}">
                <a16:creationId xmlns:a16="http://schemas.microsoft.com/office/drawing/2014/main" id="{01D2708C-3271-2FCA-8488-B4E32633A750}"/>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2" name="Content Placeholder 5">
            <a:extLst>
              <a:ext uri="{FF2B5EF4-FFF2-40B4-BE49-F238E27FC236}">
                <a16:creationId xmlns:a16="http://schemas.microsoft.com/office/drawing/2014/main" id="{98245B66-1B28-18AA-69E6-34BD6F46C0BE}"/>
              </a:ext>
            </a:extLst>
          </p:cNvPr>
          <p:cNvSpPr>
            <a:spLocks noGrp="1"/>
          </p:cNvSpPr>
          <p:nvPr>
            <p:ph sz="quarter" idx="11" hasCustomPrompt="1"/>
          </p:nvPr>
        </p:nvSpPr>
        <p:spPr>
          <a:xfrm>
            <a:off x="457200" y="2819236"/>
            <a:ext cx="3609976" cy="303267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5">
            <a:extLst>
              <a:ext uri="{FF2B5EF4-FFF2-40B4-BE49-F238E27FC236}">
                <a16:creationId xmlns:a16="http://schemas.microsoft.com/office/drawing/2014/main" id="{5A7F8315-1C9F-53AD-C8F8-38B56B900CE2}"/>
              </a:ext>
            </a:extLst>
          </p:cNvPr>
          <p:cNvSpPr>
            <a:spLocks noGrp="1"/>
          </p:cNvSpPr>
          <p:nvPr>
            <p:ph sz="quarter" idx="13" hasCustomPrompt="1"/>
          </p:nvPr>
        </p:nvSpPr>
        <p:spPr>
          <a:xfrm>
            <a:off x="4295273" y="2819236"/>
            <a:ext cx="3609976" cy="303267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a:extLst>
              <a:ext uri="{FF2B5EF4-FFF2-40B4-BE49-F238E27FC236}">
                <a16:creationId xmlns:a16="http://schemas.microsoft.com/office/drawing/2014/main" id="{80DB9B63-F7FD-9B20-7D67-464722501F85}"/>
              </a:ext>
            </a:extLst>
          </p:cNvPr>
          <p:cNvSpPr>
            <a:spLocks noGrp="1"/>
          </p:cNvSpPr>
          <p:nvPr>
            <p:ph sz="quarter" idx="14" hasCustomPrompt="1"/>
          </p:nvPr>
        </p:nvSpPr>
        <p:spPr>
          <a:xfrm>
            <a:off x="8133346" y="2819236"/>
            <a:ext cx="3598406" cy="303267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2">
            <a:extLst>
              <a:ext uri="{FF2B5EF4-FFF2-40B4-BE49-F238E27FC236}">
                <a16:creationId xmlns:a16="http://schemas.microsoft.com/office/drawing/2014/main" id="{577C2523-960C-4A32-FFAE-78F1131617BB}"/>
              </a:ext>
            </a:extLst>
          </p:cNvPr>
          <p:cNvSpPr>
            <a:spLocks noGrp="1"/>
          </p:cNvSpPr>
          <p:nvPr>
            <p:ph type="pic" sz="quarter" idx="15" hasCustomPrompt="1"/>
          </p:nvPr>
        </p:nvSpPr>
        <p:spPr>
          <a:xfrm>
            <a:off x="488730" y="1744663"/>
            <a:ext cx="914400" cy="914400"/>
          </a:xfrm>
        </p:spPr>
        <p:txBody>
          <a:bodyPr/>
          <a:lstStyle/>
          <a:p>
            <a:r>
              <a:rPr lang="en-US" dirty="0"/>
              <a:t>icon</a:t>
            </a:r>
          </a:p>
        </p:txBody>
      </p:sp>
      <p:sp>
        <p:nvSpPr>
          <p:cNvPr id="7" name="Picture Placeholder 2">
            <a:extLst>
              <a:ext uri="{FF2B5EF4-FFF2-40B4-BE49-F238E27FC236}">
                <a16:creationId xmlns:a16="http://schemas.microsoft.com/office/drawing/2014/main" id="{5A38D4E5-09B8-07BF-7CDE-383FE0846D96}"/>
              </a:ext>
            </a:extLst>
          </p:cNvPr>
          <p:cNvSpPr>
            <a:spLocks noGrp="1"/>
          </p:cNvSpPr>
          <p:nvPr>
            <p:ph type="pic" sz="quarter" idx="16" hasCustomPrompt="1"/>
          </p:nvPr>
        </p:nvSpPr>
        <p:spPr>
          <a:xfrm>
            <a:off x="4326803" y="1744663"/>
            <a:ext cx="914400" cy="914400"/>
          </a:xfrm>
        </p:spPr>
        <p:txBody>
          <a:bodyPr/>
          <a:lstStyle/>
          <a:p>
            <a:r>
              <a:rPr lang="en-US" dirty="0"/>
              <a:t>icon</a:t>
            </a:r>
          </a:p>
        </p:txBody>
      </p:sp>
      <p:sp>
        <p:nvSpPr>
          <p:cNvPr id="11" name="Picture Placeholder 2">
            <a:extLst>
              <a:ext uri="{FF2B5EF4-FFF2-40B4-BE49-F238E27FC236}">
                <a16:creationId xmlns:a16="http://schemas.microsoft.com/office/drawing/2014/main" id="{0FD13936-FBD2-24B2-49D9-0A7CB9E52C50}"/>
              </a:ext>
            </a:extLst>
          </p:cNvPr>
          <p:cNvSpPr>
            <a:spLocks noGrp="1"/>
          </p:cNvSpPr>
          <p:nvPr>
            <p:ph type="pic" sz="quarter" idx="17" hasCustomPrompt="1"/>
          </p:nvPr>
        </p:nvSpPr>
        <p:spPr>
          <a:xfrm>
            <a:off x="8164876" y="1744663"/>
            <a:ext cx="914400" cy="914400"/>
          </a:xfrm>
        </p:spPr>
        <p:txBody>
          <a:bodyPr/>
          <a:lstStyle/>
          <a:p>
            <a:r>
              <a:rPr lang="en-US" dirty="0"/>
              <a:t>icon</a:t>
            </a:r>
          </a:p>
        </p:txBody>
      </p:sp>
    </p:spTree>
    <p:extLst>
      <p:ext uri="{BB962C8B-B14F-4D97-AF65-F5344CB8AC3E}">
        <p14:creationId xmlns:p14="http://schemas.microsoft.com/office/powerpoint/2010/main" val="31073045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530173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a:xfrm>
            <a:off x="457200" y="384048"/>
            <a:ext cx="11274552" cy="822960"/>
          </a:xfrm>
        </p:spPr>
        <p:txBody>
          <a:bodyPr/>
          <a:lstStyle/>
          <a:p>
            <a:r>
              <a:rPr lang="en-US" dirty="0"/>
              <a:t>Click to edit master title style</a:t>
            </a:r>
          </a:p>
        </p:txBody>
      </p:sp>
      <p:sp>
        <p:nvSpPr>
          <p:cNvPr id="4" name="Content Placeholder 3">
            <a:extLst>
              <a:ext uri="{FF2B5EF4-FFF2-40B4-BE49-F238E27FC236}">
                <a16:creationId xmlns:a16="http://schemas.microsoft.com/office/drawing/2014/main" id="{AD385E59-9CC5-9871-4EB1-B364647AAFA5}"/>
              </a:ext>
            </a:extLst>
          </p:cNvPr>
          <p:cNvSpPr>
            <a:spLocks noGrp="1"/>
          </p:cNvSpPr>
          <p:nvPr>
            <p:ph sz="quarter" idx="21"/>
          </p:nvPr>
        </p:nvSpPr>
        <p:spPr>
          <a:xfrm>
            <a:off x="475443" y="1691641"/>
            <a:ext cx="264082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
            <a:extLst>
              <a:ext uri="{FF2B5EF4-FFF2-40B4-BE49-F238E27FC236}">
                <a16:creationId xmlns:a16="http://schemas.microsoft.com/office/drawing/2014/main" id="{89E427DA-4D2F-C091-BBC3-51007DCBA33D}"/>
              </a:ext>
            </a:extLst>
          </p:cNvPr>
          <p:cNvSpPr>
            <a:spLocks noGrp="1"/>
          </p:cNvSpPr>
          <p:nvPr>
            <p:ph sz="quarter" idx="22"/>
          </p:nvPr>
        </p:nvSpPr>
        <p:spPr>
          <a:xfrm>
            <a:off x="3348289" y="1691641"/>
            <a:ext cx="264082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
            <a:extLst>
              <a:ext uri="{FF2B5EF4-FFF2-40B4-BE49-F238E27FC236}">
                <a16:creationId xmlns:a16="http://schemas.microsoft.com/office/drawing/2014/main" id="{A93994B7-A0C7-265E-120E-98F5D0653416}"/>
              </a:ext>
            </a:extLst>
          </p:cNvPr>
          <p:cNvSpPr>
            <a:spLocks noGrp="1"/>
          </p:cNvSpPr>
          <p:nvPr>
            <p:ph sz="quarter" idx="23"/>
          </p:nvPr>
        </p:nvSpPr>
        <p:spPr>
          <a:xfrm>
            <a:off x="6221135" y="1691641"/>
            <a:ext cx="264082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a:extLst>
              <a:ext uri="{FF2B5EF4-FFF2-40B4-BE49-F238E27FC236}">
                <a16:creationId xmlns:a16="http://schemas.microsoft.com/office/drawing/2014/main" id="{FD44DF59-6C6E-B941-C523-A61E7A097C9C}"/>
              </a:ext>
            </a:extLst>
          </p:cNvPr>
          <p:cNvSpPr>
            <a:spLocks noGrp="1"/>
          </p:cNvSpPr>
          <p:nvPr>
            <p:ph sz="quarter" idx="24"/>
          </p:nvPr>
        </p:nvSpPr>
        <p:spPr>
          <a:xfrm>
            <a:off x="9093980" y="1691641"/>
            <a:ext cx="264082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3">
            <a:extLst>
              <a:ext uri="{FF2B5EF4-FFF2-40B4-BE49-F238E27FC236}">
                <a16:creationId xmlns:a16="http://schemas.microsoft.com/office/drawing/2014/main" id="{C1E44A2A-FBF2-963D-9B1C-7C7E900CC849}"/>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016313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5" name="Text Placeholder 3">
            <a:extLst>
              <a:ext uri="{FF2B5EF4-FFF2-40B4-BE49-F238E27FC236}">
                <a16:creationId xmlns:a16="http://schemas.microsoft.com/office/drawing/2014/main" id="{CAA6C2B6-0EBC-1BB7-9224-5AA69323802F}"/>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355597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Up 1 ">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cxnSp>
        <p:nvCxnSpPr>
          <p:cNvPr id="13" name="Straight Connector 12">
            <a:extLst>
              <a:ext uri="{FF2B5EF4-FFF2-40B4-BE49-F238E27FC236}">
                <a16:creationId xmlns:a16="http://schemas.microsoft.com/office/drawing/2014/main" id="{2C6E06F0-2580-5A49-98CA-34E91A0D2C89}"/>
              </a:ext>
            </a:extLst>
          </p:cNvPr>
          <p:cNvCxnSpPr>
            <a:cxnSpLocks/>
          </p:cNvCxnSpPr>
          <p:nvPr userDrawn="1"/>
        </p:nvCxnSpPr>
        <p:spPr>
          <a:xfrm>
            <a:off x="6099533" y="1677410"/>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B9996DA-4693-AF44-A11B-9EE0B94D1690}"/>
              </a:ext>
            </a:extLst>
          </p:cNvPr>
          <p:cNvCxnSpPr>
            <a:cxnSpLocks/>
          </p:cNvCxnSpPr>
          <p:nvPr userDrawn="1"/>
        </p:nvCxnSpPr>
        <p:spPr>
          <a:xfrm>
            <a:off x="6099533" y="4014884"/>
            <a:ext cx="0" cy="18711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F416A43-9211-2E49-BAB8-1BD8D9816424}"/>
              </a:ext>
            </a:extLst>
          </p:cNvPr>
          <p:cNvCxnSpPr/>
          <p:nvPr userDrawn="1"/>
        </p:nvCxnSpPr>
        <p:spPr>
          <a:xfrm flipH="1">
            <a:off x="457200"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85D7B38-0887-2F46-8E24-5542606312A7}"/>
              </a:ext>
            </a:extLst>
          </p:cNvPr>
          <p:cNvCxnSpPr/>
          <p:nvPr userDrawn="1"/>
        </p:nvCxnSpPr>
        <p:spPr>
          <a:xfrm flipH="1">
            <a:off x="6282717" y="3781741"/>
            <a:ext cx="54591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4849FDE5-105E-BE4B-A853-CB71E6171367}"/>
              </a:ext>
            </a:extLst>
          </p:cNvPr>
          <p:cNvSpPr>
            <a:spLocks noGrp="1"/>
          </p:cNvSpPr>
          <p:nvPr>
            <p:ph type="body" sz="quarter" idx="10" hasCustomPrompt="1"/>
          </p:nvPr>
        </p:nvSpPr>
        <p:spPr>
          <a:xfrm>
            <a:off x="902497" y="2223070"/>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18" name="Text Placeholder 16">
            <a:extLst>
              <a:ext uri="{FF2B5EF4-FFF2-40B4-BE49-F238E27FC236}">
                <a16:creationId xmlns:a16="http://schemas.microsoft.com/office/drawing/2014/main" id="{F206106F-2A33-A745-A741-D61DB0867B45}"/>
              </a:ext>
            </a:extLst>
          </p:cNvPr>
          <p:cNvSpPr>
            <a:spLocks noGrp="1"/>
          </p:cNvSpPr>
          <p:nvPr>
            <p:ph type="body" sz="quarter" idx="11" hasCustomPrompt="1"/>
          </p:nvPr>
        </p:nvSpPr>
        <p:spPr>
          <a:xfrm>
            <a:off x="6621980" y="2223070"/>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19" name="Text Placeholder 16">
            <a:extLst>
              <a:ext uri="{FF2B5EF4-FFF2-40B4-BE49-F238E27FC236}">
                <a16:creationId xmlns:a16="http://schemas.microsoft.com/office/drawing/2014/main" id="{A8E7582B-02F1-674F-A5A3-E9BC144DBB50}"/>
              </a:ext>
            </a:extLst>
          </p:cNvPr>
          <p:cNvSpPr>
            <a:spLocks noGrp="1"/>
          </p:cNvSpPr>
          <p:nvPr>
            <p:ph type="body" sz="quarter" idx="12" hasCustomPrompt="1"/>
          </p:nvPr>
        </p:nvSpPr>
        <p:spPr>
          <a:xfrm>
            <a:off x="902497" y="4302882"/>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20" name="Text Placeholder 16">
            <a:extLst>
              <a:ext uri="{FF2B5EF4-FFF2-40B4-BE49-F238E27FC236}">
                <a16:creationId xmlns:a16="http://schemas.microsoft.com/office/drawing/2014/main" id="{5BDF288F-53B9-154C-9319-69499F536D3F}"/>
              </a:ext>
            </a:extLst>
          </p:cNvPr>
          <p:cNvSpPr>
            <a:spLocks noGrp="1"/>
          </p:cNvSpPr>
          <p:nvPr>
            <p:ph type="body" sz="quarter" idx="13" hasCustomPrompt="1"/>
          </p:nvPr>
        </p:nvSpPr>
        <p:spPr>
          <a:xfrm>
            <a:off x="6621980" y="4302882"/>
            <a:ext cx="1329714" cy="983745"/>
          </a:xfrm>
        </p:spPr>
        <p:txBody>
          <a:bodyPr/>
          <a:lstStyle>
            <a:lvl1pPr>
              <a:defRPr sz="6800" b="0" i="0">
                <a:solidFill>
                  <a:schemeClr val="accent2"/>
                </a:solidFill>
                <a:latin typeface="Elevance Sans Medium" pitchFamily="2" charset="0"/>
              </a:defRPr>
            </a:lvl1pPr>
          </a:lstStyle>
          <a:p>
            <a:pPr lvl="0"/>
            <a:r>
              <a:rPr lang="en-US" dirty="0"/>
              <a:t>XX</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2431850" y="2307195"/>
            <a:ext cx="3273131" cy="833490"/>
          </a:xfrm>
        </p:spPr>
        <p:txBody>
          <a:bodyPr/>
          <a:lstStyle>
            <a:lvl1pPr>
              <a:spcBef>
                <a:spcPts val="0"/>
              </a:spcBef>
              <a:defRPr sz="1400"/>
            </a:lvl1pPr>
            <a:lvl2pPr marL="12700" indent="0">
              <a:spcBef>
                <a:spcPts val="0"/>
              </a:spcBef>
              <a:tabLst/>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8170043" y="2307195"/>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2431850"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8170043" y="4413901"/>
            <a:ext cx="3273131" cy="833490"/>
          </a:xfrm>
        </p:spPr>
        <p:txBody>
          <a:bodyPr/>
          <a:lstStyle>
            <a:lvl1pPr>
              <a:spcBef>
                <a:spcPts val="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1" name="Text Placeholder 3">
            <a:extLst>
              <a:ext uri="{FF2B5EF4-FFF2-40B4-BE49-F238E27FC236}">
                <a16:creationId xmlns:a16="http://schemas.microsoft.com/office/drawing/2014/main" id="{3503FAA8-E853-BE6B-88EB-6E22E2A16822}"/>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879233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Up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675797-F0AF-7D47-B826-B1C69AB2E373}"/>
              </a:ext>
            </a:extLst>
          </p:cNvPr>
          <p:cNvSpPr>
            <a:spLocks noGrp="1"/>
          </p:cNvSpPr>
          <p:nvPr>
            <p:ph type="body" sz="quarter" idx="18"/>
          </p:nvPr>
        </p:nvSpPr>
        <p:spPr>
          <a:xfrm>
            <a:off x="45720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3" name="Text Placeholder 4">
            <a:extLst>
              <a:ext uri="{FF2B5EF4-FFF2-40B4-BE49-F238E27FC236}">
                <a16:creationId xmlns:a16="http://schemas.microsoft.com/office/drawing/2014/main" id="{7F6EDBC3-168B-CF46-BFC4-E8C95CFB3499}"/>
              </a:ext>
            </a:extLst>
          </p:cNvPr>
          <p:cNvSpPr>
            <a:spLocks noGrp="1"/>
          </p:cNvSpPr>
          <p:nvPr>
            <p:ph type="body" sz="quarter" idx="19"/>
          </p:nvPr>
        </p:nvSpPr>
        <p:spPr>
          <a:xfrm>
            <a:off x="6126480" y="1737622"/>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4" name="Text Placeholder 4">
            <a:extLst>
              <a:ext uri="{FF2B5EF4-FFF2-40B4-BE49-F238E27FC236}">
                <a16:creationId xmlns:a16="http://schemas.microsoft.com/office/drawing/2014/main" id="{0CE2A664-C16E-5147-9B30-8AD5A22398E3}"/>
              </a:ext>
            </a:extLst>
          </p:cNvPr>
          <p:cNvSpPr>
            <a:spLocks noGrp="1"/>
          </p:cNvSpPr>
          <p:nvPr>
            <p:ph type="body" sz="quarter" idx="20"/>
          </p:nvPr>
        </p:nvSpPr>
        <p:spPr>
          <a:xfrm>
            <a:off x="45720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5" name="Text Placeholder 4">
            <a:extLst>
              <a:ext uri="{FF2B5EF4-FFF2-40B4-BE49-F238E27FC236}">
                <a16:creationId xmlns:a16="http://schemas.microsoft.com/office/drawing/2014/main" id="{61CE08F7-4DC1-5549-B0ED-CCB370F612C8}"/>
              </a:ext>
            </a:extLst>
          </p:cNvPr>
          <p:cNvSpPr>
            <a:spLocks noGrp="1"/>
          </p:cNvSpPr>
          <p:nvPr>
            <p:ph type="body" sz="quarter" idx="21"/>
          </p:nvPr>
        </p:nvSpPr>
        <p:spPr>
          <a:xfrm>
            <a:off x="6126480" y="3905766"/>
            <a:ext cx="5605272" cy="2092698"/>
          </a:xfrm>
          <a:solidFill>
            <a:schemeClr val="bg2"/>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23" name="Text Placeholder 21">
            <a:extLst>
              <a:ext uri="{FF2B5EF4-FFF2-40B4-BE49-F238E27FC236}">
                <a16:creationId xmlns:a16="http://schemas.microsoft.com/office/drawing/2014/main" id="{57A54F8C-EE30-B641-981C-F41296996185}"/>
              </a:ext>
            </a:extLst>
          </p:cNvPr>
          <p:cNvSpPr>
            <a:spLocks noGrp="1"/>
          </p:cNvSpPr>
          <p:nvPr>
            <p:ph type="body" sz="quarter" idx="15"/>
          </p:nvPr>
        </p:nvSpPr>
        <p:spPr>
          <a:xfrm>
            <a:off x="669086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2" name="Text Placeholder 21">
            <a:extLst>
              <a:ext uri="{FF2B5EF4-FFF2-40B4-BE49-F238E27FC236}">
                <a16:creationId xmlns:a16="http://schemas.microsoft.com/office/drawing/2014/main" id="{7AF18322-8B69-3541-84FE-64063D8B6169}"/>
              </a:ext>
            </a:extLst>
          </p:cNvPr>
          <p:cNvSpPr>
            <a:spLocks noGrp="1"/>
          </p:cNvSpPr>
          <p:nvPr>
            <p:ph type="body" sz="quarter" idx="14"/>
          </p:nvPr>
        </p:nvSpPr>
        <p:spPr>
          <a:xfrm>
            <a:off x="997498" y="2311643"/>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4" name="Text Placeholder 21">
            <a:extLst>
              <a:ext uri="{FF2B5EF4-FFF2-40B4-BE49-F238E27FC236}">
                <a16:creationId xmlns:a16="http://schemas.microsoft.com/office/drawing/2014/main" id="{E20B307F-7584-6E44-A9BF-B92167B86D1E}"/>
              </a:ext>
            </a:extLst>
          </p:cNvPr>
          <p:cNvSpPr>
            <a:spLocks noGrp="1"/>
          </p:cNvSpPr>
          <p:nvPr>
            <p:ph type="body" sz="quarter" idx="16"/>
          </p:nvPr>
        </p:nvSpPr>
        <p:spPr>
          <a:xfrm>
            <a:off x="99749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25" name="Text Placeholder 21">
            <a:extLst>
              <a:ext uri="{FF2B5EF4-FFF2-40B4-BE49-F238E27FC236}">
                <a16:creationId xmlns:a16="http://schemas.microsoft.com/office/drawing/2014/main" id="{243BEEFB-1A86-4945-8F20-66E3C9ADFBC7}"/>
              </a:ext>
            </a:extLst>
          </p:cNvPr>
          <p:cNvSpPr>
            <a:spLocks noGrp="1"/>
          </p:cNvSpPr>
          <p:nvPr>
            <p:ph type="body" sz="quarter" idx="17"/>
          </p:nvPr>
        </p:nvSpPr>
        <p:spPr>
          <a:xfrm>
            <a:off x="6690868" y="4471056"/>
            <a:ext cx="4183320" cy="1049059"/>
          </a:xfrm>
        </p:spPr>
        <p:txBody>
          <a:bodyPr/>
          <a:lstStyle>
            <a:lvl1pPr>
              <a:spcBef>
                <a:spcPts val="0"/>
              </a:spcBef>
              <a:defRPr sz="1600"/>
            </a:lvl1pPr>
            <a:lvl2pPr>
              <a:spcBef>
                <a:spcPts val="0"/>
              </a:spcBef>
              <a:defRPr sz="16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12" name="Text Placeholder 3">
            <a:extLst>
              <a:ext uri="{FF2B5EF4-FFF2-40B4-BE49-F238E27FC236}">
                <a16:creationId xmlns:a16="http://schemas.microsoft.com/office/drawing/2014/main" id="{F8FE7E3D-9922-82D1-1CE1-8470DC537701}"/>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5967934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Up 3">
    <p:spTree>
      <p:nvGrpSpPr>
        <p:cNvPr id="1" name=""/>
        <p:cNvGrpSpPr/>
        <p:nvPr/>
      </p:nvGrpSpPr>
      <p:grpSpPr>
        <a:xfrm>
          <a:off x="0" y="0"/>
          <a:ext cx="0" cy="0"/>
          <a:chOff x="0" y="0"/>
          <a:chExt cx="0" cy="0"/>
        </a:xfrm>
      </p:grpSpPr>
      <p:sp>
        <p:nvSpPr>
          <p:cNvPr id="37" name="Text Placeholder 4">
            <a:extLst>
              <a:ext uri="{FF2B5EF4-FFF2-40B4-BE49-F238E27FC236}">
                <a16:creationId xmlns:a16="http://schemas.microsoft.com/office/drawing/2014/main" id="{875F6157-AD74-F941-B422-398794332098}"/>
              </a:ext>
            </a:extLst>
          </p:cNvPr>
          <p:cNvSpPr>
            <a:spLocks noGrp="1"/>
          </p:cNvSpPr>
          <p:nvPr>
            <p:ph type="body" sz="quarter" idx="19"/>
          </p:nvPr>
        </p:nvSpPr>
        <p:spPr>
          <a:xfrm>
            <a:off x="4684391"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8" name="Text Placeholder 4">
            <a:extLst>
              <a:ext uri="{FF2B5EF4-FFF2-40B4-BE49-F238E27FC236}">
                <a16:creationId xmlns:a16="http://schemas.microsoft.com/office/drawing/2014/main" id="{0B9D8E76-D2A2-5648-B2DB-A62CD2D6A61B}"/>
              </a:ext>
            </a:extLst>
          </p:cNvPr>
          <p:cNvSpPr>
            <a:spLocks noGrp="1"/>
          </p:cNvSpPr>
          <p:nvPr>
            <p:ph type="body" sz="quarter" idx="20"/>
          </p:nvPr>
        </p:nvSpPr>
        <p:spPr>
          <a:xfrm>
            <a:off x="7044077"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39" name="Text Placeholder 4">
            <a:extLst>
              <a:ext uri="{FF2B5EF4-FFF2-40B4-BE49-F238E27FC236}">
                <a16:creationId xmlns:a16="http://schemas.microsoft.com/office/drawing/2014/main" id="{20492DC6-9657-A84D-AA7B-58D54CBB7A2A}"/>
              </a:ext>
            </a:extLst>
          </p:cNvPr>
          <p:cNvSpPr>
            <a:spLocks noGrp="1"/>
          </p:cNvSpPr>
          <p:nvPr>
            <p:ph type="body" sz="quarter" idx="21"/>
          </p:nvPr>
        </p:nvSpPr>
        <p:spPr>
          <a:xfrm>
            <a:off x="9403763" y="1737621"/>
            <a:ext cx="2327987" cy="4269479"/>
          </a:xfrm>
          <a:solidFill>
            <a:srgbClr val="F5F5F5"/>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43" name="Text Placeholder 7">
            <a:extLst>
              <a:ext uri="{FF2B5EF4-FFF2-40B4-BE49-F238E27FC236}">
                <a16:creationId xmlns:a16="http://schemas.microsoft.com/office/drawing/2014/main" id="{7C67F79F-A16B-8F48-A460-2D06F52DCC63}"/>
              </a:ext>
            </a:extLst>
          </p:cNvPr>
          <p:cNvSpPr>
            <a:spLocks noGrp="1"/>
          </p:cNvSpPr>
          <p:nvPr>
            <p:ph type="body" sz="quarter" idx="27"/>
          </p:nvPr>
        </p:nvSpPr>
        <p:spPr>
          <a:xfrm>
            <a:off x="727572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8" name="Text Placeholder 7">
            <a:extLst>
              <a:ext uri="{FF2B5EF4-FFF2-40B4-BE49-F238E27FC236}">
                <a16:creationId xmlns:a16="http://schemas.microsoft.com/office/drawing/2014/main" id="{4C09F171-D2FC-724F-A2F1-83AC74A0C414}"/>
              </a:ext>
            </a:extLst>
          </p:cNvPr>
          <p:cNvSpPr>
            <a:spLocks noGrp="1"/>
          </p:cNvSpPr>
          <p:nvPr>
            <p:ph type="body" sz="quarter" idx="26"/>
          </p:nvPr>
        </p:nvSpPr>
        <p:spPr>
          <a:xfrm>
            <a:off x="4939795"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44" name="Text Placeholder 7">
            <a:extLst>
              <a:ext uri="{FF2B5EF4-FFF2-40B4-BE49-F238E27FC236}">
                <a16:creationId xmlns:a16="http://schemas.microsoft.com/office/drawing/2014/main" id="{0886DACC-8B94-1049-99F5-38D402063D40}"/>
              </a:ext>
            </a:extLst>
          </p:cNvPr>
          <p:cNvSpPr>
            <a:spLocks noGrp="1"/>
          </p:cNvSpPr>
          <p:nvPr>
            <p:ph type="body" sz="quarter" idx="28"/>
          </p:nvPr>
        </p:nvSpPr>
        <p:spPr>
          <a:xfrm>
            <a:off x="9642278" y="2629502"/>
            <a:ext cx="1802369" cy="2976168"/>
          </a:xfrm>
        </p:spPr>
        <p:txBody>
          <a:bodyPr/>
          <a:lstStyle>
            <a:lvl1pPr>
              <a:defRPr sz="1400" b="0" i="0">
                <a:latin typeface="Elevance Sans"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7FDE759B-B6F2-3D4A-9BFA-89DFE2644693}"/>
              </a:ext>
            </a:extLst>
          </p:cNvPr>
          <p:cNvSpPr>
            <a:spLocks noGrp="1"/>
          </p:cNvSpPr>
          <p:nvPr>
            <p:ph type="body" sz="quarter" idx="18"/>
          </p:nvPr>
        </p:nvSpPr>
        <p:spPr>
          <a:xfrm>
            <a:off x="457200" y="1737621"/>
            <a:ext cx="4195492" cy="4269479"/>
          </a:xfrm>
          <a:solidFill>
            <a:schemeClr val="accent1"/>
          </a:solidFill>
        </p:spPr>
        <p:txBody>
          <a:bodyPr/>
          <a:lstStyle>
            <a:lvl1pPr>
              <a:defRPr sz="100" b="0" i="0">
                <a:solidFill>
                  <a:schemeClr val="bg2">
                    <a:alpha val="0"/>
                  </a:schemeClr>
                </a:solidFill>
                <a:latin typeface="Elevance Sans" pitchFamily="2" charset="77"/>
                <a:cs typeface="Elevance Sans" pitchFamily="2" charset="0"/>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113370B3-825E-D34B-8FDF-7533F97F3B0F}"/>
              </a:ext>
            </a:extLst>
          </p:cNvPr>
          <p:cNvSpPr>
            <a:spLocks noGrp="1"/>
          </p:cNvSpPr>
          <p:nvPr>
            <p:ph type="body" sz="quarter" idx="22" hasCustomPrompt="1"/>
          </p:nvPr>
        </p:nvSpPr>
        <p:spPr>
          <a:xfrm>
            <a:off x="755601" y="1948308"/>
            <a:ext cx="1652266" cy="268434"/>
          </a:xfrm>
        </p:spPr>
        <p:txBody>
          <a:bodyPr/>
          <a:lstStyle>
            <a:lvl1pPr>
              <a:defRPr sz="1500">
                <a:solidFill>
                  <a:schemeClr val="bg1"/>
                </a:solidFill>
              </a:defRPr>
            </a:lvl1pPr>
          </a:lstStyle>
          <a:p>
            <a:pPr lvl="0"/>
            <a:r>
              <a:rPr lang="en-US" dirty="0"/>
              <a:t>Subtitle text</a:t>
            </a:r>
          </a:p>
        </p:txBody>
      </p:sp>
      <p:sp>
        <p:nvSpPr>
          <p:cNvPr id="40" name="Text Placeholder 5">
            <a:extLst>
              <a:ext uri="{FF2B5EF4-FFF2-40B4-BE49-F238E27FC236}">
                <a16:creationId xmlns:a16="http://schemas.microsoft.com/office/drawing/2014/main" id="{5E27056C-29C0-2045-816E-9E902F2F596B}"/>
              </a:ext>
            </a:extLst>
          </p:cNvPr>
          <p:cNvSpPr>
            <a:spLocks noGrp="1"/>
          </p:cNvSpPr>
          <p:nvPr>
            <p:ph type="body" sz="quarter" idx="23" hasCustomPrompt="1"/>
          </p:nvPr>
        </p:nvSpPr>
        <p:spPr>
          <a:xfrm>
            <a:off x="4909237" y="1948308"/>
            <a:ext cx="1652266" cy="268434"/>
          </a:xfrm>
        </p:spPr>
        <p:txBody>
          <a:bodyPr/>
          <a:lstStyle>
            <a:lvl1pPr>
              <a:defRPr sz="1500">
                <a:solidFill>
                  <a:schemeClr val="accent2"/>
                </a:solidFill>
              </a:defRPr>
            </a:lvl1pPr>
          </a:lstStyle>
          <a:p>
            <a:pPr lvl="0"/>
            <a:r>
              <a:rPr lang="en-US" dirty="0"/>
              <a:t>Subtitle text</a:t>
            </a:r>
          </a:p>
        </p:txBody>
      </p:sp>
      <p:sp>
        <p:nvSpPr>
          <p:cNvPr id="41" name="Text Placeholder 5">
            <a:extLst>
              <a:ext uri="{FF2B5EF4-FFF2-40B4-BE49-F238E27FC236}">
                <a16:creationId xmlns:a16="http://schemas.microsoft.com/office/drawing/2014/main" id="{50958210-96E8-1E49-B317-7E8680A7B0A7}"/>
              </a:ext>
            </a:extLst>
          </p:cNvPr>
          <p:cNvSpPr>
            <a:spLocks noGrp="1"/>
          </p:cNvSpPr>
          <p:nvPr>
            <p:ph type="body" sz="quarter" idx="24" hasCustomPrompt="1"/>
          </p:nvPr>
        </p:nvSpPr>
        <p:spPr>
          <a:xfrm>
            <a:off x="7275725" y="1948308"/>
            <a:ext cx="1652266" cy="268434"/>
          </a:xfrm>
        </p:spPr>
        <p:txBody>
          <a:bodyPr/>
          <a:lstStyle>
            <a:lvl1pPr>
              <a:defRPr sz="1500">
                <a:solidFill>
                  <a:schemeClr val="accent2"/>
                </a:solidFill>
              </a:defRPr>
            </a:lvl1pPr>
          </a:lstStyle>
          <a:p>
            <a:pPr lvl="0"/>
            <a:r>
              <a:rPr lang="en-US" dirty="0"/>
              <a:t>Subtitle text</a:t>
            </a:r>
          </a:p>
        </p:txBody>
      </p:sp>
      <p:sp>
        <p:nvSpPr>
          <p:cNvPr id="42" name="Text Placeholder 5">
            <a:extLst>
              <a:ext uri="{FF2B5EF4-FFF2-40B4-BE49-F238E27FC236}">
                <a16:creationId xmlns:a16="http://schemas.microsoft.com/office/drawing/2014/main" id="{9EF4BB56-4511-4D4B-B1CE-7496C1BDBE62}"/>
              </a:ext>
            </a:extLst>
          </p:cNvPr>
          <p:cNvSpPr>
            <a:spLocks noGrp="1"/>
          </p:cNvSpPr>
          <p:nvPr>
            <p:ph type="body" sz="quarter" idx="25" hasCustomPrompt="1"/>
          </p:nvPr>
        </p:nvSpPr>
        <p:spPr>
          <a:xfrm>
            <a:off x="9642278" y="1948308"/>
            <a:ext cx="1652266" cy="268434"/>
          </a:xfrm>
        </p:spPr>
        <p:txBody>
          <a:bodyPr/>
          <a:lstStyle>
            <a:lvl1pPr>
              <a:defRPr sz="1500">
                <a:solidFill>
                  <a:schemeClr val="accent2"/>
                </a:solidFill>
              </a:defRPr>
            </a:lvl1pPr>
          </a:lstStyle>
          <a:p>
            <a:pPr lvl="0"/>
            <a:r>
              <a:rPr lang="en-US" dirty="0"/>
              <a:t>Subtitle text</a:t>
            </a:r>
          </a:p>
        </p:txBody>
      </p:sp>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p>
            <a:r>
              <a:rPr lang="en-US" dirty="0"/>
              <a:t>Click to edit master title style</a:t>
            </a:r>
          </a:p>
        </p:txBody>
      </p:sp>
      <p:sp>
        <p:nvSpPr>
          <p:cNvPr id="45" name="Text Placeholder 7">
            <a:extLst>
              <a:ext uri="{FF2B5EF4-FFF2-40B4-BE49-F238E27FC236}">
                <a16:creationId xmlns:a16="http://schemas.microsoft.com/office/drawing/2014/main" id="{AA5D0AF0-14B5-FB4C-9A3D-38570A770590}"/>
              </a:ext>
            </a:extLst>
          </p:cNvPr>
          <p:cNvSpPr>
            <a:spLocks noGrp="1"/>
          </p:cNvSpPr>
          <p:nvPr>
            <p:ph type="body" sz="quarter" idx="29"/>
          </p:nvPr>
        </p:nvSpPr>
        <p:spPr>
          <a:xfrm>
            <a:off x="2183241" y="2691503"/>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6" name="Text Placeholder 7">
            <a:extLst>
              <a:ext uri="{FF2B5EF4-FFF2-40B4-BE49-F238E27FC236}">
                <a16:creationId xmlns:a16="http://schemas.microsoft.com/office/drawing/2014/main" id="{CEDDFC23-987F-D649-AC0A-8278DC76612B}"/>
              </a:ext>
            </a:extLst>
          </p:cNvPr>
          <p:cNvSpPr>
            <a:spLocks noGrp="1"/>
          </p:cNvSpPr>
          <p:nvPr>
            <p:ph type="body" sz="quarter" idx="30"/>
          </p:nvPr>
        </p:nvSpPr>
        <p:spPr>
          <a:xfrm>
            <a:off x="2183241" y="3548490"/>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7" name="Text Placeholder 7">
            <a:extLst>
              <a:ext uri="{FF2B5EF4-FFF2-40B4-BE49-F238E27FC236}">
                <a16:creationId xmlns:a16="http://schemas.microsoft.com/office/drawing/2014/main" id="{5F06E18E-6C35-ED44-B0A1-A45465982C84}"/>
              </a:ext>
            </a:extLst>
          </p:cNvPr>
          <p:cNvSpPr>
            <a:spLocks noGrp="1"/>
          </p:cNvSpPr>
          <p:nvPr>
            <p:ph type="body" sz="quarter" idx="31"/>
          </p:nvPr>
        </p:nvSpPr>
        <p:spPr>
          <a:xfrm>
            <a:off x="2183241" y="4405478"/>
            <a:ext cx="2230936" cy="439148"/>
          </a:xfrm>
        </p:spPr>
        <p:txBody>
          <a:bodyPr/>
          <a:lstStyle>
            <a:lvl1pPr>
              <a:defRPr sz="1400" b="0" i="0">
                <a:solidFill>
                  <a:schemeClr val="bg1"/>
                </a:solidFill>
                <a:latin typeface="Elevance Sans" pitchFamily="2" charset="77"/>
              </a:defRPr>
            </a:lvl1pPr>
          </a:lstStyle>
          <a:p>
            <a:pPr lvl="0"/>
            <a:r>
              <a:rPr lang="en-US"/>
              <a:t>Click to edit Master text styles</a:t>
            </a:r>
          </a:p>
        </p:txBody>
      </p:sp>
      <p:sp>
        <p:nvSpPr>
          <p:cNvPr id="48" name="Text Placeholder 16">
            <a:extLst>
              <a:ext uri="{FF2B5EF4-FFF2-40B4-BE49-F238E27FC236}">
                <a16:creationId xmlns:a16="http://schemas.microsoft.com/office/drawing/2014/main" id="{466C3108-2271-4849-AC8B-AE3CAA394027}"/>
              </a:ext>
            </a:extLst>
          </p:cNvPr>
          <p:cNvSpPr>
            <a:spLocks noGrp="1"/>
          </p:cNvSpPr>
          <p:nvPr>
            <p:ph type="body" sz="quarter" idx="10" hasCustomPrompt="1"/>
          </p:nvPr>
        </p:nvSpPr>
        <p:spPr>
          <a:xfrm>
            <a:off x="755600" y="2653748"/>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49" name="Text Placeholder 16">
            <a:extLst>
              <a:ext uri="{FF2B5EF4-FFF2-40B4-BE49-F238E27FC236}">
                <a16:creationId xmlns:a16="http://schemas.microsoft.com/office/drawing/2014/main" id="{D5A9143D-7150-AC42-B40F-D5C4B2E4E85B}"/>
              </a:ext>
            </a:extLst>
          </p:cNvPr>
          <p:cNvSpPr>
            <a:spLocks noGrp="1"/>
          </p:cNvSpPr>
          <p:nvPr>
            <p:ph type="body" sz="quarter" idx="32" hasCustomPrompt="1"/>
          </p:nvPr>
        </p:nvSpPr>
        <p:spPr>
          <a:xfrm>
            <a:off x="755600" y="3513481"/>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50" name="Text Placeholder 16">
            <a:extLst>
              <a:ext uri="{FF2B5EF4-FFF2-40B4-BE49-F238E27FC236}">
                <a16:creationId xmlns:a16="http://schemas.microsoft.com/office/drawing/2014/main" id="{7DA7978D-E906-C942-B91D-81151851337D}"/>
              </a:ext>
            </a:extLst>
          </p:cNvPr>
          <p:cNvSpPr>
            <a:spLocks noGrp="1"/>
          </p:cNvSpPr>
          <p:nvPr>
            <p:ph type="body" sz="quarter" idx="33" hasCustomPrompt="1"/>
          </p:nvPr>
        </p:nvSpPr>
        <p:spPr>
          <a:xfrm>
            <a:off x="755600" y="4373214"/>
            <a:ext cx="1395941" cy="561942"/>
          </a:xfrm>
        </p:spPr>
        <p:txBody>
          <a:bodyPr anchor="ctr" anchorCtr="0"/>
          <a:lstStyle>
            <a:lvl1pPr>
              <a:defRPr sz="5500" b="0" i="0">
                <a:solidFill>
                  <a:schemeClr val="bg1"/>
                </a:solidFill>
                <a:latin typeface="Elevance Sans Medium" pitchFamily="2" charset="0"/>
              </a:defRPr>
            </a:lvl1pPr>
          </a:lstStyle>
          <a:p>
            <a:pPr lvl="0"/>
            <a:r>
              <a:rPr lang="en-US" dirty="0"/>
              <a:t>XX</a:t>
            </a:r>
          </a:p>
        </p:txBody>
      </p:sp>
      <p:sp>
        <p:nvSpPr>
          <p:cNvPr id="21" name="Text Placeholder 3">
            <a:extLst>
              <a:ext uri="{FF2B5EF4-FFF2-40B4-BE49-F238E27FC236}">
                <a16:creationId xmlns:a16="http://schemas.microsoft.com/office/drawing/2014/main" id="{A53CF610-EC9E-1EE1-5D5D-10FEFB998CDF}"/>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897693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Purple">
    <p:bg>
      <p:bgPr>
        <a:solidFill>
          <a:srgbClr val="5009B5"/>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7" name="Text Placeholder 3">
            <a:extLst>
              <a:ext uri="{FF2B5EF4-FFF2-40B4-BE49-F238E27FC236}">
                <a16:creationId xmlns:a16="http://schemas.microsoft.com/office/drawing/2014/main" id="{44BB02AB-F970-4F91-A89C-1973840E8306}"/>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659090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Dark Purple">
    <p:bg>
      <p:bgPr>
        <a:solidFill>
          <a:srgbClr val="2B1B49"/>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E75330-0906-7041-819F-960237FD5FBB}"/>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6" name="TextBox 5">
            <a:extLst>
              <a:ext uri="{FF2B5EF4-FFF2-40B4-BE49-F238E27FC236}">
                <a16:creationId xmlns:a16="http://schemas.microsoft.com/office/drawing/2014/main" id="{4E4AA359-29EA-5F4F-BDCD-44D77DDDBA39}"/>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732D85FF-C9D8-F24D-9CA2-21283ABF1C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7199" y="6181343"/>
            <a:ext cx="365760" cy="365760"/>
          </a:xfrm>
          <a:prstGeom prst="rect">
            <a:avLst/>
          </a:prstGeom>
        </p:spPr>
      </p:pic>
      <p:sp>
        <p:nvSpPr>
          <p:cNvPr id="7" name="Text Placeholder 3">
            <a:extLst>
              <a:ext uri="{FF2B5EF4-FFF2-40B4-BE49-F238E27FC236}">
                <a16:creationId xmlns:a16="http://schemas.microsoft.com/office/drawing/2014/main" id="{76AA53B9-DE63-7BE1-CF43-C92B31797461}"/>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015938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inear Supergraphic">
    <p:spTree>
      <p:nvGrpSpPr>
        <p:cNvPr id="1" name=""/>
        <p:cNvGrpSpPr/>
        <p:nvPr/>
      </p:nvGrpSpPr>
      <p:grpSpPr>
        <a:xfrm>
          <a:off x="0" y="0"/>
          <a:ext cx="0" cy="0"/>
          <a:chOff x="0" y="0"/>
          <a:chExt cx="0" cy="0"/>
        </a:xfrm>
      </p:grpSpPr>
      <p:sp>
        <p:nvSpPr>
          <p:cNvPr id="7" name="Arc 6">
            <a:extLst>
              <a:ext uri="{FF2B5EF4-FFF2-40B4-BE49-F238E27FC236}">
                <a16:creationId xmlns:a16="http://schemas.microsoft.com/office/drawing/2014/main" id="{FE20D0F9-50E8-FC44-9957-5927A5C28D74}"/>
              </a:ext>
            </a:extLst>
          </p:cNvPr>
          <p:cNvSpPr/>
          <p:nvPr/>
        </p:nvSpPr>
        <p:spPr>
          <a:xfrm rot="10800000">
            <a:off x="7700406" y="-5517141"/>
            <a:ext cx="8983187" cy="8983187"/>
          </a:xfrm>
          <a:prstGeom prst="arc">
            <a:avLst>
              <a:gd name="adj1" fmla="val 16200000"/>
              <a:gd name="adj2" fmla="val 2083408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983117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tx1"/>
                </a:solidFill>
              </a:defRPr>
            </a:lvl1pPr>
          </a:lstStyle>
          <a:p>
            <a:r>
              <a:rPr lang="en-US" dirty="0"/>
              <a:t>Click to add  </a:t>
            </a:r>
            <a:br>
              <a:rPr lang="en-US" dirty="0"/>
            </a:br>
            <a:r>
              <a:rPr lang="en-US" dirty="0"/>
              <a:t>presentation title</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5088" y="4517136"/>
            <a:ext cx="5638800" cy="228600"/>
          </a:xfrm>
        </p:spPr>
        <p:txBody>
          <a:bodyPr/>
          <a:lstStyle>
            <a:lvl1pPr marL="0" indent="0" algn="l">
              <a:buNone/>
              <a:defRPr sz="1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cxnSp>
        <p:nvCxnSpPr>
          <p:cNvPr id="5" name="Straight Connector 4">
            <a:extLst>
              <a:ext uri="{FF2B5EF4-FFF2-40B4-BE49-F238E27FC236}">
                <a16:creationId xmlns:a16="http://schemas.microsoft.com/office/drawing/2014/main" id="{48F072A8-8335-584F-BE52-8FBA3F06E93A}"/>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336C828C-5FD5-5842-8A7F-FCDE3E492A7E}"/>
              </a:ext>
            </a:extLst>
          </p:cNvPr>
          <p:cNvSpPr/>
          <p:nvPr/>
        </p:nvSpPr>
        <p:spPr>
          <a:xfrm rot="16200000">
            <a:off x="7700406" y="3466048"/>
            <a:ext cx="8983187" cy="8983187"/>
          </a:xfrm>
          <a:prstGeom prst="arc">
            <a:avLst>
              <a:gd name="adj1" fmla="val 17028583"/>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9" name="Text Placeholder 11">
            <a:extLst>
              <a:ext uri="{FF2B5EF4-FFF2-40B4-BE49-F238E27FC236}">
                <a16:creationId xmlns:a16="http://schemas.microsoft.com/office/drawing/2014/main" id="{7DD3FC0C-5E28-CC45-ACF0-E5E428993029}"/>
              </a:ext>
            </a:extLst>
          </p:cNvPr>
          <p:cNvSpPr>
            <a:spLocks noGrp="1"/>
          </p:cNvSpPr>
          <p:nvPr>
            <p:ph type="body" sz="quarter" idx="11" hasCustomPrompt="1"/>
          </p:nvPr>
        </p:nvSpPr>
        <p:spPr>
          <a:xfrm>
            <a:off x="415088" y="4758997"/>
            <a:ext cx="5638800" cy="224536"/>
          </a:xfrm>
        </p:spPr>
        <p:txBody>
          <a:bodyPr/>
          <a:lstStyle>
            <a:lvl1pPr marL="0" indent="0">
              <a:lnSpc>
                <a:spcPct val="100000"/>
              </a:lnSpc>
              <a:buNone/>
              <a:defRPr sz="1800" b="0" i="0">
                <a:latin typeface="+mn-lt"/>
              </a:defRPr>
            </a:lvl1pPr>
          </a:lstStyle>
          <a:p>
            <a:pPr lvl="0"/>
            <a:r>
              <a:rPr lang="en-US" dirty="0"/>
              <a:t>Click to add date</a:t>
            </a:r>
          </a:p>
        </p:txBody>
      </p:sp>
      <p:pic>
        <p:nvPicPr>
          <p:cNvPr id="11" name="Graphic 10">
            <a:extLst>
              <a:ext uri="{FF2B5EF4-FFF2-40B4-BE49-F238E27FC236}">
                <a16:creationId xmlns:a16="http://schemas.microsoft.com/office/drawing/2014/main" id="{189E0B22-25D8-6FE3-8887-EA879F61A67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6061" y="578755"/>
            <a:ext cx="1786364" cy="463576"/>
          </a:xfrm>
          <a:prstGeom prst="rect">
            <a:avLst/>
          </a:prstGeom>
        </p:spPr>
      </p:pic>
    </p:spTree>
    <p:extLst>
      <p:ext uri="{BB962C8B-B14F-4D97-AF65-F5344CB8AC3E}">
        <p14:creationId xmlns:p14="http://schemas.microsoft.com/office/powerpoint/2010/main" val="2641803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847951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199" y="1691640"/>
            <a:ext cx="2651125" cy="4315460"/>
          </a:xfrm>
        </p:spPr>
        <p:txBody>
          <a:bodyPr/>
          <a:lstStyle>
            <a:lvl1pPr marL="0" indent="0">
              <a:lnSpc>
                <a:spcPct val="120000"/>
              </a:lnSpc>
              <a:buNone/>
              <a:defRPr sz="1400">
                <a:latin typeface="+mn-lt"/>
              </a:defRPr>
            </a:lvl1pPr>
          </a:lstStyle>
          <a:p>
            <a:pPr lvl="0"/>
            <a:r>
              <a:rPr lang="en-US" dirty="0"/>
              <a:t>Click to edit master text styles</a:t>
            </a:r>
          </a:p>
        </p:txBody>
      </p:sp>
      <p:sp>
        <p:nvSpPr>
          <p:cNvPr id="15" name="Table Placeholder 14">
            <a:extLst>
              <a:ext uri="{FF2B5EF4-FFF2-40B4-BE49-F238E27FC236}">
                <a16:creationId xmlns:a16="http://schemas.microsoft.com/office/drawing/2014/main" id="{A26E02A6-FCD4-2349-A224-1CAE40B3C672}"/>
              </a:ext>
            </a:extLst>
          </p:cNvPr>
          <p:cNvSpPr>
            <a:spLocks noGrp="1"/>
          </p:cNvSpPr>
          <p:nvPr>
            <p:ph type="tbl" sz="quarter" idx="12"/>
          </p:nvPr>
        </p:nvSpPr>
        <p:spPr>
          <a:xfrm>
            <a:off x="3336925" y="1691641"/>
            <a:ext cx="8397875" cy="4315460"/>
          </a:xfrm>
        </p:spPr>
        <p:txBody>
          <a:bodyPr/>
          <a:lstStyle>
            <a:lvl1pPr marL="0" indent="0">
              <a:buNone/>
              <a:defRPr sz="1400">
                <a:latin typeface="+mn-lt"/>
              </a:defRPr>
            </a:lvl1pPr>
          </a:lstStyle>
          <a:p>
            <a:r>
              <a:rPr lang="en-US"/>
              <a:t>Click icon to add table</a:t>
            </a:r>
            <a:endParaRPr lang="en-US" dirty="0"/>
          </a:p>
        </p:txBody>
      </p:sp>
      <p:sp>
        <p:nvSpPr>
          <p:cNvPr id="3" name="Title 2">
            <a:extLst>
              <a:ext uri="{FF2B5EF4-FFF2-40B4-BE49-F238E27FC236}">
                <a16:creationId xmlns:a16="http://schemas.microsoft.com/office/drawing/2014/main" id="{323086E9-DD46-BF44-9FB9-ECD66EB7820F}"/>
              </a:ext>
            </a:extLst>
          </p:cNvPr>
          <p:cNvSpPr>
            <a:spLocks noGrp="1"/>
          </p:cNvSpPr>
          <p:nvPr>
            <p:ph type="title" hasCustomPrompt="1"/>
          </p:nvPr>
        </p:nvSpPr>
        <p:spPr/>
        <p:txBody>
          <a:bodyPr/>
          <a:lstStyle/>
          <a:p>
            <a:r>
              <a:rPr lang="en-US" dirty="0"/>
              <a:t>Click to edit master title style</a:t>
            </a:r>
          </a:p>
        </p:txBody>
      </p:sp>
      <p:sp>
        <p:nvSpPr>
          <p:cNvPr id="9" name="Text Placeholder 3">
            <a:extLst>
              <a:ext uri="{FF2B5EF4-FFF2-40B4-BE49-F238E27FC236}">
                <a16:creationId xmlns:a16="http://schemas.microsoft.com/office/drawing/2014/main" id="{8AC43919-65F4-AC45-90D9-184605FD6F63}"/>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848555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A900F767-BE76-4CEE-AC77-B4E0495DE07D}"/>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582352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3882687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D864AB1-FA21-E948-BBC5-87E7C74C69C3}"/>
              </a:ext>
            </a:extLst>
          </p:cNvPr>
          <p:cNvSpPr>
            <a:spLocks noGrp="1"/>
          </p:cNvSpPr>
          <p:nvPr>
            <p:ph type="body" sz="quarter" idx="11" hasCustomPrompt="1"/>
          </p:nvPr>
        </p:nvSpPr>
        <p:spPr>
          <a:xfrm>
            <a:off x="457200" y="1691640"/>
            <a:ext cx="2651124" cy="4315460"/>
          </a:xfrm>
        </p:spPr>
        <p:txBody>
          <a:bodyPr/>
          <a:lstStyle>
            <a:lvl1pPr marL="0" indent="0">
              <a:lnSpc>
                <a:spcPct val="120000"/>
              </a:lnSpc>
              <a:buNone/>
              <a:defRPr sz="1400">
                <a:latin typeface="+mn-lt"/>
              </a:defRPr>
            </a:lvl1pPr>
          </a:lstStyle>
          <a:p>
            <a:pPr lvl="0"/>
            <a:r>
              <a:rPr lang="en-US" dirty="0"/>
              <a:t>Click to edit master text styles</a:t>
            </a:r>
          </a:p>
        </p:txBody>
      </p:sp>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3336925" y="0"/>
            <a:ext cx="8855075"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4D84F6E5-E352-B74C-8251-2905A2D26949}"/>
              </a:ext>
            </a:extLst>
          </p:cNvPr>
          <p:cNvSpPr>
            <a:spLocks noGrp="1"/>
          </p:cNvSpPr>
          <p:nvPr>
            <p:ph type="title" hasCustomPrompt="1"/>
          </p:nvPr>
        </p:nvSpPr>
        <p:spPr>
          <a:xfrm>
            <a:off x="457199" y="384048"/>
            <a:ext cx="2651125" cy="822960"/>
          </a:xfrm>
        </p:spPr>
        <p:txBody>
          <a:bodyPr/>
          <a:lstStyle/>
          <a:p>
            <a:r>
              <a:rPr lang="en-US" dirty="0"/>
              <a:t>Click to add title</a:t>
            </a:r>
          </a:p>
        </p:txBody>
      </p:sp>
      <p:sp>
        <p:nvSpPr>
          <p:cNvPr id="7" name="Text Placeholder 3">
            <a:extLst>
              <a:ext uri="{FF2B5EF4-FFF2-40B4-BE49-F238E27FC236}">
                <a16:creationId xmlns:a16="http://schemas.microsoft.com/office/drawing/2014/main" id="{7EAA3626-B192-7954-2795-53FA1BDAEF44}"/>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dirty="0"/>
          </a:p>
        </p:txBody>
      </p:sp>
      <p:sp>
        <p:nvSpPr>
          <p:cNvPr id="9" name="Text Placeholder 3">
            <a:extLst>
              <a:ext uri="{FF2B5EF4-FFF2-40B4-BE49-F238E27FC236}">
                <a16:creationId xmlns:a16="http://schemas.microsoft.com/office/drawing/2014/main" id="{6A252A36-C9C2-A4C8-798D-15C5353A4B91}"/>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1665466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12723071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2D6B9CC2-0A93-824B-8784-1E187A641DF1}"/>
              </a:ext>
            </a:extLst>
          </p:cNvPr>
          <p:cNvSpPr>
            <a:spLocks noGrp="1"/>
          </p:cNvSpPr>
          <p:nvPr>
            <p:ph type="pic" sz="quarter" idx="13"/>
          </p:nvPr>
        </p:nvSpPr>
        <p:spPr>
          <a:xfrm>
            <a:off x="6096000" y="0"/>
            <a:ext cx="6096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3" name="Title 2">
            <a:extLst>
              <a:ext uri="{FF2B5EF4-FFF2-40B4-BE49-F238E27FC236}">
                <a16:creationId xmlns:a16="http://schemas.microsoft.com/office/drawing/2014/main" id="{F0D6646E-C578-A14A-A853-62114E9D76C2}"/>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7" name="Text Placeholder 3">
            <a:extLst>
              <a:ext uri="{FF2B5EF4-FFF2-40B4-BE49-F238E27FC236}">
                <a16:creationId xmlns:a16="http://schemas.microsoft.com/office/drawing/2014/main" id="{A1CF216C-01D7-7A42-655D-ED8193489E2B}"/>
              </a:ext>
            </a:extLst>
          </p:cNvPr>
          <p:cNvSpPr>
            <a:spLocks noGrp="1"/>
          </p:cNvSpPr>
          <p:nvPr>
            <p:ph type="body" sz="half" idx="2" hasCustomPrompt="1"/>
          </p:nvPr>
        </p:nvSpPr>
        <p:spPr>
          <a:xfrm>
            <a:off x="1419224" y="6306217"/>
            <a:ext cx="4371975"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4" name="Text Placeholder 3">
            <a:extLst>
              <a:ext uri="{FF2B5EF4-FFF2-40B4-BE49-F238E27FC236}">
                <a16:creationId xmlns:a16="http://schemas.microsoft.com/office/drawing/2014/main" id="{39E43737-9BA8-28F9-9B37-28D9385536F1}"/>
              </a:ext>
            </a:extLst>
          </p:cNvPr>
          <p:cNvSpPr>
            <a:spLocks noGrp="1"/>
          </p:cNvSpPr>
          <p:nvPr>
            <p:ph type="body" sz="quarter" idx="15"/>
          </p:nvPr>
        </p:nvSpPr>
        <p:spPr>
          <a:xfrm>
            <a:off x="457200" y="1691640"/>
            <a:ext cx="5334000" cy="4315460"/>
          </a:xfrm>
        </p:spPr>
        <p:txBody>
          <a:bodyPr/>
          <a:lstStyle>
            <a:lvl1pPr>
              <a:lnSpc>
                <a:spcPct val="120000"/>
              </a:lnSpc>
              <a:spcBef>
                <a:spcPts val="1600"/>
              </a:spcBef>
              <a:defRPr sz="1600">
                <a:latin typeface="+mn-lt"/>
              </a:defRPr>
            </a:lvl1pPr>
            <a:lvl2pPr marL="293688" indent="-293688">
              <a:lnSpc>
                <a:spcPct val="120000"/>
              </a:lnSpc>
              <a:spcBef>
                <a:spcPts val="1600"/>
              </a:spcBef>
              <a:buFont typeface="Elevance Sans" pitchFamily="2" charset="0"/>
              <a:buChar char="•"/>
              <a:tabLst/>
              <a:defRPr sz="1600">
                <a:latin typeface="+mn-lt"/>
              </a:defRPr>
            </a:lvl2pPr>
            <a:lvl3pPr marL="9525" indent="0">
              <a:buNone/>
              <a:defRPr/>
            </a:lvl3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50FE2A77-52B0-0002-3E44-F3A5C0195718}"/>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F3D65CF3-2F65-3542-86CF-6454B72998A1}" type="slidenum">
              <a:rPr lang="en-US" smtClean="0"/>
              <a:t>‹#›</a:t>
            </a:fld>
            <a:endParaRPr lang="en-US" dirty="0"/>
          </a:p>
        </p:txBody>
      </p:sp>
    </p:spTree>
    <p:extLst>
      <p:ext uri="{BB962C8B-B14F-4D97-AF65-F5344CB8AC3E}">
        <p14:creationId xmlns:p14="http://schemas.microsoft.com/office/powerpoint/2010/main" val="27421917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s Three ico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icture Placeholder 22">
            <a:extLst>
              <a:ext uri="{FF2B5EF4-FFF2-40B4-BE49-F238E27FC236}">
                <a16:creationId xmlns:a16="http://schemas.microsoft.com/office/drawing/2014/main" id="{C7E88C62-B078-D543-A31B-4986E3330988}"/>
              </a:ext>
            </a:extLst>
          </p:cNvPr>
          <p:cNvSpPr>
            <a:spLocks noGrp="1"/>
          </p:cNvSpPr>
          <p:nvPr>
            <p:ph type="pic" sz="quarter" idx="19" hasCustomPrompt="1"/>
          </p:nvPr>
        </p:nvSpPr>
        <p:spPr>
          <a:xfrm>
            <a:off x="6665120" y="2346325"/>
            <a:ext cx="731837" cy="731276"/>
          </a:xfrm>
        </p:spPr>
        <p:txBody>
          <a:bodyPr/>
          <a:lstStyle>
            <a:lvl1pPr algn="ctr">
              <a:defRPr sz="1000">
                <a:solidFill>
                  <a:schemeClr val="tx2"/>
                </a:solidFill>
              </a:defRPr>
            </a:lvl1pPr>
          </a:lstStyle>
          <a:p>
            <a:r>
              <a:rPr lang="en-US" dirty="0"/>
              <a:t>icon</a:t>
            </a:r>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6" name="Text Placeholder 5">
            <a:extLst>
              <a:ext uri="{FF2B5EF4-FFF2-40B4-BE49-F238E27FC236}">
                <a16:creationId xmlns:a16="http://schemas.microsoft.com/office/drawing/2014/main" id="{408DCCDA-24C3-CC42-9EEC-7C84C2FB8571}"/>
              </a:ext>
            </a:extLst>
          </p:cNvPr>
          <p:cNvSpPr>
            <a:spLocks noGrp="1"/>
          </p:cNvSpPr>
          <p:nvPr>
            <p:ph type="body" sz="quarter" idx="15"/>
          </p:nvPr>
        </p:nvSpPr>
        <p:spPr>
          <a:xfrm>
            <a:off x="6773863" y="1691640"/>
            <a:ext cx="4249737" cy="316103"/>
          </a:xfrm>
        </p:spPr>
        <p:txBody>
          <a:bodyPr/>
          <a:lstStyle>
            <a:lvl1pPr>
              <a:lnSpc>
                <a:spcPct val="120000"/>
              </a:lnSpc>
              <a:defRPr sz="1600"/>
            </a:lvl1pPr>
          </a:lstStyle>
          <a:p>
            <a:pPr lvl="0"/>
            <a:r>
              <a:rPr lang="en-US"/>
              <a:t>Click to edit Master text styles</a:t>
            </a:r>
          </a:p>
        </p:txBody>
      </p:sp>
      <p:sp>
        <p:nvSpPr>
          <p:cNvPr id="19" name="Text Placeholder 18">
            <a:extLst>
              <a:ext uri="{FF2B5EF4-FFF2-40B4-BE49-F238E27FC236}">
                <a16:creationId xmlns:a16="http://schemas.microsoft.com/office/drawing/2014/main" id="{2628AA8C-3AA3-804C-BAC2-938EE013A99D}"/>
              </a:ext>
            </a:extLst>
          </p:cNvPr>
          <p:cNvSpPr>
            <a:spLocks noGrp="1"/>
          </p:cNvSpPr>
          <p:nvPr>
            <p:ph type="body" sz="quarter" idx="16"/>
          </p:nvPr>
        </p:nvSpPr>
        <p:spPr>
          <a:xfrm>
            <a:off x="7915275" y="2354336"/>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0" name="Text Placeholder 18">
            <a:extLst>
              <a:ext uri="{FF2B5EF4-FFF2-40B4-BE49-F238E27FC236}">
                <a16:creationId xmlns:a16="http://schemas.microsoft.com/office/drawing/2014/main" id="{60BE6EBB-EB34-2242-AEBC-48C5BF2653DE}"/>
              </a:ext>
            </a:extLst>
          </p:cNvPr>
          <p:cNvSpPr>
            <a:spLocks noGrp="1"/>
          </p:cNvSpPr>
          <p:nvPr>
            <p:ph type="body" sz="quarter" idx="17"/>
          </p:nvPr>
        </p:nvSpPr>
        <p:spPr>
          <a:xfrm>
            <a:off x="7915275" y="3736210"/>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1" name="Text Placeholder 18">
            <a:extLst>
              <a:ext uri="{FF2B5EF4-FFF2-40B4-BE49-F238E27FC236}">
                <a16:creationId xmlns:a16="http://schemas.microsoft.com/office/drawing/2014/main" id="{62787009-1D09-0143-B730-093388290FEE}"/>
              </a:ext>
            </a:extLst>
          </p:cNvPr>
          <p:cNvSpPr>
            <a:spLocks noGrp="1"/>
          </p:cNvSpPr>
          <p:nvPr>
            <p:ph type="body" sz="quarter" idx="18"/>
          </p:nvPr>
        </p:nvSpPr>
        <p:spPr>
          <a:xfrm>
            <a:off x="7915275" y="5118084"/>
            <a:ext cx="3818526" cy="723265"/>
          </a:xfrm>
        </p:spPr>
        <p:txBody>
          <a:bodyPr/>
          <a:lstStyle>
            <a:lvl1pPr>
              <a:lnSpc>
                <a:spcPct val="120000"/>
              </a:lnSpc>
              <a:defRPr sz="1200" b="0" i="0">
                <a:latin typeface="Elevance Sans" pitchFamily="2" charset="0"/>
              </a:defRPr>
            </a:lvl1pPr>
          </a:lstStyle>
          <a:p>
            <a:pPr lvl="0"/>
            <a:r>
              <a:rPr lang="en-US"/>
              <a:t>Click to edit Master text styles</a:t>
            </a:r>
          </a:p>
        </p:txBody>
      </p:sp>
      <p:sp>
        <p:nvSpPr>
          <p:cNvPr id="24" name="Picture Placeholder 22">
            <a:extLst>
              <a:ext uri="{FF2B5EF4-FFF2-40B4-BE49-F238E27FC236}">
                <a16:creationId xmlns:a16="http://schemas.microsoft.com/office/drawing/2014/main" id="{926707BB-0CF8-D742-A1DA-677AC916C15E}"/>
              </a:ext>
            </a:extLst>
          </p:cNvPr>
          <p:cNvSpPr>
            <a:spLocks noGrp="1"/>
          </p:cNvSpPr>
          <p:nvPr>
            <p:ph type="pic" sz="quarter" idx="20" hasCustomPrompt="1"/>
          </p:nvPr>
        </p:nvSpPr>
        <p:spPr>
          <a:xfrm>
            <a:off x="6665120" y="3736210"/>
            <a:ext cx="731837" cy="731276"/>
          </a:xfrm>
        </p:spPr>
        <p:txBody>
          <a:bodyPr/>
          <a:lstStyle>
            <a:lvl1pPr algn="ctr">
              <a:defRPr sz="1000">
                <a:solidFill>
                  <a:schemeClr val="tx2"/>
                </a:solidFill>
              </a:defRPr>
            </a:lvl1pPr>
          </a:lstStyle>
          <a:p>
            <a:r>
              <a:rPr lang="en-US" dirty="0"/>
              <a:t>icon</a:t>
            </a:r>
          </a:p>
        </p:txBody>
      </p:sp>
      <p:sp>
        <p:nvSpPr>
          <p:cNvPr id="25" name="Picture Placeholder 22">
            <a:extLst>
              <a:ext uri="{FF2B5EF4-FFF2-40B4-BE49-F238E27FC236}">
                <a16:creationId xmlns:a16="http://schemas.microsoft.com/office/drawing/2014/main" id="{F2140207-71CD-1744-B834-6438BAD46B26}"/>
              </a:ext>
            </a:extLst>
          </p:cNvPr>
          <p:cNvSpPr>
            <a:spLocks noGrp="1"/>
          </p:cNvSpPr>
          <p:nvPr>
            <p:ph type="pic" sz="quarter" idx="21" hasCustomPrompt="1"/>
          </p:nvPr>
        </p:nvSpPr>
        <p:spPr>
          <a:xfrm>
            <a:off x="6665120" y="5118084"/>
            <a:ext cx="731837" cy="731276"/>
          </a:xfrm>
        </p:spPr>
        <p:txBody>
          <a:bodyPr/>
          <a:lstStyle>
            <a:lvl1pPr algn="ctr">
              <a:defRPr sz="1000">
                <a:solidFill>
                  <a:schemeClr val="tx2"/>
                </a:solidFill>
              </a:defRPr>
            </a:lvl1pPr>
          </a:lstStyle>
          <a:p>
            <a:r>
              <a:rPr lang="en-US" dirty="0"/>
              <a:t>icon</a:t>
            </a:r>
          </a:p>
        </p:txBody>
      </p:sp>
      <p:sp>
        <p:nvSpPr>
          <p:cNvPr id="15" name="Text Placeholder 3">
            <a:extLst>
              <a:ext uri="{FF2B5EF4-FFF2-40B4-BE49-F238E27FC236}">
                <a16:creationId xmlns:a16="http://schemas.microsoft.com/office/drawing/2014/main" id="{F40F05F6-3DE7-6705-C11E-BA69FCC7422B}"/>
              </a:ext>
            </a:extLst>
          </p:cNvPr>
          <p:cNvSpPr>
            <a:spLocks noGrp="1"/>
          </p:cNvSpPr>
          <p:nvPr>
            <p:ph type="body" sz="half" idx="2" hasCustomPrompt="1"/>
          </p:nvPr>
        </p:nvSpPr>
        <p:spPr>
          <a:xfrm>
            <a:off x="1419224" y="6306217"/>
            <a:ext cx="4371975"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a:lvl2pPr>
            <a:lvl3pPr>
              <a:lnSpc>
                <a:spcPct val="120000"/>
              </a:lnSpc>
              <a:spcBef>
                <a:spcPts val="1600"/>
              </a:spcBef>
              <a:defRPr sz="1600"/>
            </a:lvl3pPr>
            <a:lvl4pPr>
              <a:lnSpc>
                <a:spcPct val="120000"/>
              </a:lnSpc>
              <a:spcBef>
                <a:spcPts val="1600"/>
              </a:spcBef>
              <a:defRPr sz="1600"/>
            </a:lvl4pPr>
            <a:lvl5pPr>
              <a:lnSpc>
                <a:spcPct val="120000"/>
              </a:lnSpc>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34940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Column Spli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481F15-58C8-BB47-847B-AFEF12FCE234}"/>
              </a:ext>
            </a:extLst>
          </p:cNvPr>
          <p:cNvSpPr/>
          <p:nvPr userDrawn="1"/>
        </p:nvSpPr>
        <p:spPr>
          <a:xfrm>
            <a:off x="6096000" y="0"/>
            <a:ext cx="6096000" cy="6858000"/>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747310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107B16-D40D-4D49-AC9F-081161A30D41}"/>
              </a:ext>
            </a:extLst>
          </p:cNvPr>
          <p:cNvSpPr>
            <a:spLocks noGrp="1"/>
          </p:cNvSpPr>
          <p:nvPr>
            <p:ph type="title" hasCustomPrompt="1"/>
          </p:nvPr>
        </p:nvSpPr>
        <p:spPr>
          <a:xfrm>
            <a:off x="457200" y="384048"/>
            <a:ext cx="5334000" cy="822960"/>
          </a:xfrm>
        </p:spPr>
        <p:txBody>
          <a:bodyPr/>
          <a:lstStyle/>
          <a:p>
            <a:r>
              <a:rPr lang="en-US" dirty="0"/>
              <a:t>Click to add title</a:t>
            </a:r>
          </a:p>
        </p:txBody>
      </p:sp>
      <p:sp>
        <p:nvSpPr>
          <p:cNvPr id="16" name="TextBox 15">
            <a:extLst>
              <a:ext uri="{FF2B5EF4-FFF2-40B4-BE49-F238E27FC236}">
                <a16:creationId xmlns:a16="http://schemas.microsoft.com/office/drawing/2014/main" id="{AD9F5B07-CC0C-8242-81AD-1C0EB2CDA362}"/>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15" name="Text Placeholder 3">
            <a:extLst>
              <a:ext uri="{FF2B5EF4-FFF2-40B4-BE49-F238E27FC236}">
                <a16:creationId xmlns:a16="http://schemas.microsoft.com/office/drawing/2014/main" id="{F40F05F6-3DE7-6705-C11E-BA69FCC7422B}"/>
              </a:ext>
            </a:extLst>
          </p:cNvPr>
          <p:cNvSpPr>
            <a:spLocks noGrp="1"/>
          </p:cNvSpPr>
          <p:nvPr>
            <p:ph type="body" sz="half" idx="2" hasCustomPrompt="1"/>
          </p:nvPr>
        </p:nvSpPr>
        <p:spPr>
          <a:xfrm>
            <a:off x="1419224" y="6306217"/>
            <a:ext cx="4371975"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5" name="Text Placeholder 4">
            <a:extLst>
              <a:ext uri="{FF2B5EF4-FFF2-40B4-BE49-F238E27FC236}">
                <a16:creationId xmlns:a16="http://schemas.microsoft.com/office/drawing/2014/main" id="{0E2F481A-950D-FAC1-C471-F344B373ED4C}"/>
              </a:ext>
            </a:extLst>
          </p:cNvPr>
          <p:cNvSpPr>
            <a:spLocks noGrp="1"/>
          </p:cNvSpPr>
          <p:nvPr>
            <p:ph type="body" sz="quarter" idx="23"/>
          </p:nvPr>
        </p:nvSpPr>
        <p:spPr>
          <a:xfrm>
            <a:off x="457200" y="1691640"/>
            <a:ext cx="5435600" cy="4315460"/>
          </a:xfrm>
        </p:spPr>
        <p:txBody>
          <a:bodyPr/>
          <a:lstStyle>
            <a:lvl1pPr>
              <a:lnSpc>
                <a:spcPct val="120000"/>
              </a:lnSpc>
              <a:spcBef>
                <a:spcPts val="1600"/>
              </a:spcBef>
              <a:defRPr sz="1600"/>
            </a:lvl1pPr>
            <a:lvl2pPr>
              <a:lnSpc>
                <a:spcPct val="120000"/>
              </a:lnSpc>
              <a:spcBef>
                <a:spcPts val="1600"/>
              </a:spcBef>
              <a:defRPr sz="1600"/>
            </a:lvl2pPr>
            <a:lvl3pPr>
              <a:lnSpc>
                <a:spcPct val="120000"/>
              </a:lnSpc>
              <a:spcBef>
                <a:spcPts val="1600"/>
              </a:spcBef>
              <a:defRPr sz="1600"/>
            </a:lvl3pPr>
            <a:lvl4pPr>
              <a:lnSpc>
                <a:spcPct val="120000"/>
              </a:lnSpc>
              <a:spcBef>
                <a:spcPts val="1600"/>
              </a:spcBef>
              <a:defRPr sz="1600"/>
            </a:lvl4pPr>
            <a:lvl5pPr>
              <a:lnSpc>
                <a:spcPct val="120000"/>
              </a:lnSpc>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44498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1418EC-3C88-4D46-862D-8E997A834E37}"/>
              </a:ext>
            </a:extLst>
          </p:cNvPr>
          <p:cNvSpPr>
            <a:spLocks noGrp="1"/>
          </p:cNvSpPr>
          <p:nvPr>
            <p:ph type="pic" sz="quarter" idx="10"/>
          </p:nvPr>
        </p:nvSpPr>
        <p:spPr>
          <a:xfrm>
            <a:off x="0" y="0"/>
            <a:ext cx="12192000" cy="6858000"/>
          </a:xfrm>
          <a:solidFill>
            <a:schemeClr val="bg1">
              <a:lumMod val="95000"/>
            </a:schemeClr>
          </a:solidFill>
        </p:spPr>
        <p:txBody>
          <a:bodyPr vert="horz" lIns="0" tIns="0" rIns="0" bIns="0" rtlCol="0">
            <a:noAutofit/>
          </a:bodyPr>
          <a:lstStyle>
            <a:lvl1pPr>
              <a:defRPr lang="en-US" sz="1200"/>
            </a:lvl1pPr>
          </a:lstStyle>
          <a:p>
            <a:pPr lvl="0"/>
            <a:r>
              <a:rPr lang="en-US"/>
              <a:t>Click icon to add picture</a:t>
            </a:r>
            <a:endParaRPr lang="en-US" dirty="0"/>
          </a:p>
        </p:txBody>
      </p:sp>
      <p:sp>
        <p:nvSpPr>
          <p:cNvPr id="3" name="Text Placeholder 10">
            <a:extLst>
              <a:ext uri="{FF2B5EF4-FFF2-40B4-BE49-F238E27FC236}">
                <a16:creationId xmlns:a16="http://schemas.microsoft.com/office/drawing/2014/main" id="{5E1CC42B-98BF-73E6-8CC8-8ED6776898E4}"/>
              </a:ext>
            </a:extLst>
          </p:cNvPr>
          <p:cNvSpPr>
            <a:spLocks noGrp="1"/>
          </p:cNvSpPr>
          <p:nvPr>
            <p:ph type="body" sz="quarter" idx="13"/>
          </p:nvPr>
        </p:nvSpPr>
        <p:spPr>
          <a:xfrm>
            <a:off x="0" y="0"/>
            <a:ext cx="12192000" cy="6858000"/>
          </a:xfrm>
          <a:gradFill>
            <a:gsLst>
              <a:gs pos="0">
                <a:srgbClr val="000000">
                  <a:alpha val="34000"/>
                </a:srgbClr>
              </a:gs>
              <a:gs pos="100000">
                <a:srgbClr val="000000">
                  <a:alpha val="34742"/>
                </a:srgbClr>
              </a:gs>
            </a:gsLst>
            <a:lin ang="0" scaled="0"/>
          </a:gradFill>
        </p:spPr>
        <p:txBody>
          <a:bodyPr vert="horz" lIns="0" tIns="0" rIns="0" bIns="0" rtlCol="0">
            <a:noAutofit/>
          </a:bodyPr>
          <a:lstStyle>
            <a:lvl1pPr>
              <a:defRPr lang="en-US" sz="100">
                <a:solidFill>
                  <a:schemeClr val="bg1">
                    <a:alpha val="0"/>
                  </a:schemeClr>
                </a:solidFill>
              </a:defRPr>
            </a:lvl1pPr>
          </a:lstStyle>
          <a:p>
            <a:pPr lvl="0"/>
            <a:r>
              <a:rPr lang="en-US"/>
              <a:t>Click to edit Master text styles</a:t>
            </a:r>
          </a:p>
        </p:txBody>
      </p:sp>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8331576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9972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6" name="Text Placeholder 15">
            <a:extLst>
              <a:ext uri="{FF2B5EF4-FFF2-40B4-BE49-F238E27FC236}">
                <a16:creationId xmlns:a16="http://schemas.microsoft.com/office/drawing/2014/main" id="{37CEF25A-BB49-7744-A3F7-57849C61D7A6}"/>
              </a:ext>
            </a:extLst>
          </p:cNvPr>
          <p:cNvSpPr>
            <a:spLocks noGrp="1"/>
          </p:cNvSpPr>
          <p:nvPr>
            <p:ph type="body" sz="quarter" idx="11"/>
          </p:nvPr>
        </p:nvSpPr>
        <p:spPr>
          <a:xfrm>
            <a:off x="457198" y="6181343"/>
            <a:ext cx="365345" cy="365371"/>
          </a:xfrm>
          <a:custGeom>
            <a:avLst/>
            <a:gdLst>
              <a:gd name="connsiteX0" fmla="*/ 248180 w 365345"/>
              <a:gd name="connsiteY0" fmla="*/ 130851 h 365371"/>
              <a:gd name="connsiteX1" fmla="*/ 259521 w 365345"/>
              <a:gd name="connsiteY1" fmla="*/ 136692 h 365371"/>
              <a:gd name="connsiteX2" fmla="*/ 277100 w 365345"/>
              <a:gd name="connsiteY2" fmla="*/ 139811 h 365371"/>
              <a:gd name="connsiteX3" fmla="*/ 259436 w 365345"/>
              <a:gd name="connsiteY3" fmla="*/ 182681 h 365371"/>
              <a:gd name="connsiteX4" fmla="*/ 263576 w 365345"/>
              <a:gd name="connsiteY4" fmla="*/ 190110 h 365371"/>
              <a:gd name="connsiteX5" fmla="*/ 277185 w 365345"/>
              <a:gd name="connsiteY5" fmla="*/ 189061 h 365371"/>
              <a:gd name="connsiteX6" fmla="*/ 291787 w 365345"/>
              <a:gd name="connsiteY6" fmla="*/ 190280 h 365371"/>
              <a:gd name="connsiteX7" fmla="*/ 364117 w 365345"/>
              <a:gd name="connsiteY7" fmla="*/ 291814 h 365371"/>
              <a:gd name="connsiteX8" fmla="*/ 262583 w 365345"/>
              <a:gd name="connsiteY8" fmla="*/ 364143 h 365371"/>
              <a:gd name="connsiteX9" fmla="*/ 190253 w 365345"/>
              <a:gd name="connsiteY9" fmla="*/ 262610 h 365371"/>
              <a:gd name="connsiteX10" fmla="*/ 225525 w 365345"/>
              <a:gd name="connsiteY10" fmla="*/ 277127 h 365371"/>
              <a:gd name="connsiteX11" fmla="*/ 234542 w 365345"/>
              <a:gd name="connsiteY11" fmla="*/ 306359 h 365371"/>
              <a:gd name="connsiteX12" fmla="*/ 306304 w 365345"/>
              <a:gd name="connsiteY12" fmla="*/ 319827 h 365371"/>
              <a:gd name="connsiteX13" fmla="*/ 319772 w 365345"/>
              <a:gd name="connsiteY13" fmla="*/ 248064 h 365371"/>
              <a:gd name="connsiteX14" fmla="*/ 248010 w 365345"/>
              <a:gd name="connsiteY14" fmla="*/ 234596 h 365371"/>
              <a:gd name="connsiteX15" fmla="*/ 226773 w 365345"/>
              <a:gd name="connsiteY15" fmla="*/ 182681 h 365371"/>
              <a:gd name="connsiteX16" fmla="*/ 277156 w 365345"/>
              <a:gd name="connsiteY16" fmla="*/ 0 h 365371"/>
              <a:gd name="connsiteX17" fmla="*/ 277185 w 365345"/>
              <a:gd name="connsiteY17" fmla="*/ 0 h 365371"/>
              <a:gd name="connsiteX18" fmla="*/ 277156 w 365345"/>
              <a:gd name="connsiteY18" fmla="*/ 6 h 365371"/>
              <a:gd name="connsiteX19" fmla="*/ 88095 w 365345"/>
              <a:gd name="connsiteY19" fmla="*/ 0 h 365371"/>
              <a:gd name="connsiteX20" fmla="*/ 103264 w 365345"/>
              <a:gd name="connsiteY20" fmla="*/ 1304 h 365371"/>
              <a:gd name="connsiteX21" fmla="*/ 173997 w 365345"/>
              <a:gd name="connsiteY21" fmla="*/ 67899 h 365371"/>
              <a:gd name="connsiteX22" fmla="*/ 175026 w 365345"/>
              <a:gd name="connsiteY22" fmla="*/ 102757 h 365371"/>
              <a:gd name="connsiteX23" fmla="*/ 182654 w 365345"/>
              <a:gd name="connsiteY23" fmla="*/ 105900 h 365371"/>
              <a:gd name="connsiteX24" fmla="*/ 190083 w 365345"/>
              <a:gd name="connsiteY24" fmla="*/ 101761 h 365371"/>
              <a:gd name="connsiteX25" fmla="*/ 189034 w 365345"/>
              <a:gd name="connsiteY25" fmla="*/ 88151 h 365371"/>
              <a:gd name="connsiteX26" fmla="*/ 242873 w 365345"/>
              <a:gd name="connsiteY26" fmla="*/ 6928 h 365371"/>
              <a:gd name="connsiteX27" fmla="*/ 277156 w 365345"/>
              <a:gd name="connsiteY27" fmla="*/ 6 h 365371"/>
              <a:gd name="connsiteX28" fmla="*/ 277156 w 365345"/>
              <a:gd name="connsiteY28" fmla="*/ 142 h 365371"/>
              <a:gd name="connsiteX29" fmla="*/ 291758 w 365345"/>
              <a:gd name="connsiteY29" fmla="*/ 1361 h 365371"/>
              <a:gd name="connsiteX30" fmla="*/ 364088 w 365345"/>
              <a:gd name="connsiteY30" fmla="*/ 102895 h 365371"/>
              <a:gd name="connsiteX31" fmla="*/ 262554 w 365345"/>
              <a:gd name="connsiteY31" fmla="*/ 175225 h 365371"/>
              <a:gd name="connsiteX32" fmla="*/ 277100 w 365345"/>
              <a:gd name="connsiteY32" fmla="*/ 139953 h 365371"/>
              <a:gd name="connsiteX33" fmla="*/ 306332 w 365345"/>
              <a:gd name="connsiteY33" fmla="*/ 130936 h 365371"/>
              <a:gd name="connsiteX34" fmla="*/ 319800 w 365345"/>
              <a:gd name="connsiteY34" fmla="*/ 59174 h 365371"/>
              <a:gd name="connsiteX35" fmla="*/ 248037 w 365345"/>
              <a:gd name="connsiteY35" fmla="*/ 45706 h 365371"/>
              <a:gd name="connsiteX36" fmla="*/ 234569 w 365345"/>
              <a:gd name="connsiteY36" fmla="*/ 117469 h 365371"/>
              <a:gd name="connsiteX37" fmla="*/ 182654 w 365345"/>
              <a:gd name="connsiteY37" fmla="*/ 138564 h 365371"/>
              <a:gd name="connsiteX38" fmla="*/ 130824 w 365345"/>
              <a:gd name="connsiteY38" fmla="*/ 117213 h 365371"/>
              <a:gd name="connsiteX39" fmla="*/ 139780 w 365345"/>
              <a:gd name="connsiteY39" fmla="*/ 88250 h 365371"/>
              <a:gd name="connsiteX40" fmla="*/ 130767 w 365345"/>
              <a:gd name="connsiteY40" fmla="*/ 59032 h 365371"/>
              <a:gd name="connsiteX41" fmla="*/ 59005 w 365345"/>
              <a:gd name="connsiteY41" fmla="*/ 45564 h 365371"/>
              <a:gd name="connsiteX42" fmla="*/ 45537 w 365345"/>
              <a:gd name="connsiteY42" fmla="*/ 117327 h 365371"/>
              <a:gd name="connsiteX43" fmla="*/ 117299 w 365345"/>
              <a:gd name="connsiteY43" fmla="*/ 130795 h 365371"/>
              <a:gd name="connsiteX44" fmla="*/ 138508 w 365345"/>
              <a:gd name="connsiteY44" fmla="*/ 182682 h 365371"/>
              <a:gd name="connsiteX45" fmla="*/ 117101 w 365345"/>
              <a:gd name="connsiteY45" fmla="*/ 234512 h 365371"/>
              <a:gd name="connsiteX46" fmla="*/ 105760 w 365345"/>
              <a:gd name="connsiteY46" fmla="*/ 228671 h 365371"/>
              <a:gd name="connsiteX47" fmla="*/ 88180 w 365345"/>
              <a:gd name="connsiteY47" fmla="*/ 225552 h 365371"/>
              <a:gd name="connsiteX48" fmla="*/ 88180 w 365345"/>
              <a:gd name="connsiteY48" fmla="*/ 225551 h 365371"/>
              <a:gd name="connsiteX49" fmla="*/ 58948 w 365345"/>
              <a:gd name="connsiteY49" fmla="*/ 234568 h 365371"/>
              <a:gd name="connsiteX50" fmla="*/ 45480 w 365345"/>
              <a:gd name="connsiteY50" fmla="*/ 306330 h 365371"/>
              <a:gd name="connsiteX51" fmla="*/ 117243 w 365345"/>
              <a:gd name="connsiteY51" fmla="*/ 319798 h 365371"/>
              <a:gd name="connsiteX52" fmla="*/ 130711 w 365345"/>
              <a:gd name="connsiteY52" fmla="*/ 248036 h 365371"/>
              <a:gd name="connsiteX53" fmla="*/ 182655 w 365345"/>
              <a:gd name="connsiteY53" fmla="*/ 226799 h 365371"/>
              <a:gd name="connsiteX54" fmla="*/ 234456 w 365345"/>
              <a:gd name="connsiteY54" fmla="*/ 248149 h 365371"/>
              <a:gd name="connsiteX55" fmla="*/ 225525 w 365345"/>
              <a:gd name="connsiteY55" fmla="*/ 277126 h 365371"/>
              <a:gd name="connsiteX56" fmla="*/ 182655 w 365345"/>
              <a:gd name="connsiteY56" fmla="*/ 259462 h 365371"/>
              <a:gd name="connsiteX57" fmla="*/ 175226 w 365345"/>
              <a:gd name="connsiteY57" fmla="*/ 263602 h 365371"/>
              <a:gd name="connsiteX58" fmla="*/ 175056 w 365345"/>
              <a:gd name="connsiteY58" fmla="*/ 291700 h 365371"/>
              <a:gd name="connsiteX59" fmla="*/ 73635 w 365345"/>
              <a:gd name="connsiteY59" fmla="*/ 364030 h 365371"/>
              <a:gd name="connsiteX60" fmla="*/ 1306 w 365345"/>
              <a:gd name="connsiteY60" fmla="*/ 262609 h 365371"/>
              <a:gd name="connsiteX61" fmla="*/ 67768 w 365345"/>
              <a:gd name="connsiteY61" fmla="*/ 191450 h 365371"/>
              <a:gd name="connsiteX62" fmla="*/ 102704 w 365345"/>
              <a:gd name="connsiteY62" fmla="*/ 190281 h 365371"/>
              <a:gd name="connsiteX63" fmla="*/ 105845 w 365345"/>
              <a:gd name="connsiteY63" fmla="*/ 182653 h 365371"/>
              <a:gd name="connsiteX64" fmla="*/ 101705 w 365345"/>
              <a:gd name="connsiteY64" fmla="*/ 175253 h 365371"/>
              <a:gd name="connsiteX65" fmla="*/ 88095 w 365345"/>
              <a:gd name="connsiteY65" fmla="*/ 176302 h 365371"/>
              <a:gd name="connsiteX66" fmla="*/ 1 w 365345"/>
              <a:gd name="connsiteY66" fmla="*/ 88208 h 365371"/>
              <a:gd name="connsiteX67" fmla="*/ 88095 w 365345"/>
              <a:gd name="connsiteY67" fmla="*/ 0 h 365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65345" h="365371">
                <a:moveTo>
                  <a:pt x="248180" y="130851"/>
                </a:moveTo>
                <a:cubicBezTo>
                  <a:pt x="251695" y="133261"/>
                  <a:pt x="255523" y="135217"/>
                  <a:pt x="259521" y="136692"/>
                </a:cubicBezTo>
                <a:cubicBezTo>
                  <a:pt x="265163" y="138733"/>
                  <a:pt x="271118" y="139811"/>
                  <a:pt x="277100" y="139811"/>
                </a:cubicBezTo>
                <a:lnTo>
                  <a:pt x="259436" y="182681"/>
                </a:lnTo>
                <a:lnTo>
                  <a:pt x="263576" y="190110"/>
                </a:lnTo>
                <a:cubicBezTo>
                  <a:pt x="268084" y="189401"/>
                  <a:pt x="272620" y="189061"/>
                  <a:pt x="277185" y="189061"/>
                </a:cubicBezTo>
                <a:cubicBezTo>
                  <a:pt x="282090" y="189061"/>
                  <a:pt x="286967" y="189458"/>
                  <a:pt x="291787" y="190280"/>
                </a:cubicBezTo>
                <a:cubicBezTo>
                  <a:pt x="339790" y="198332"/>
                  <a:pt x="372169" y="243811"/>
                  <a:pt x="364117" y="291814"/>
                </a:cubicBezTo>
                <a:cubicBezTo>
                  <a:pt x="356065" y="339816"/>
                  <a:pt x="310586" y="372196"/>
                  <a:pt x="262583" y="364143"/>
                </a:cubicBezTo>
                <a:cubicBezTo>
                  <a:pt x="214581" y="356091"/>
                  <a:pt x="182201" y="310612"/>
                  <a:pt x="190253" y="262610"/>
                </a:cubicBezTo>
                <a:lnTo>
                  <a:pt x="225525" y="277127"/>
                </a:lnTo>
                <a:cubicBezTo>
                  <a:pt x="225497" y="287561"/>
                  <a:pt x="228644" y="297740"/>
                  <a:pt x="234542" y="306359"/>
                </a:cubicBezTo>
                <a:cubicBezTo>
                  <a:pt x="250646" y="329892"/>
                  <a:pt x="282771" y="335932"/>
                  <a:pt x="306304" y="319827"/>
                </a:cubicBezTo>
                <a:cubicBezTo>
                  <a:pt x="329838" y="303722"/>
                  <a:pt x="335877" y="271598"/>
                  <a:pt x="319772" y="248064"/>
                </a:cubicBezTo>
                <a:cubicBezTo>
                  <a:pt x="303667" y="224531"/>
                  <a:pt x="271543" y="218492"/>
                  <a:pt x="248010" y="234596"/>
                </a:cubicBezTo>
                <a:lnTo>
                  <a:pt x="226773" y="182681"/>
                </a:lnTo>
                <a:close/>
                <a:moveTo>
                  <a:pt x="277156" y="0"/>
                </a:moveTo>
                <a:lnTo>
                  <a:pt x="277185" y="0"/>
                </a:lnTo>
                <a:lnTo>
                  <a:pt x="277156" y="6"/>
                </a:lnTo>
                <a:close/>
                <a:moveTo>
                  <a:pt x="88095" y="0"/>
                </a:moveTo>
                <a:cubicBezTo>
                  <a:pt x="93199" y="0"/>
                  <a:pt x="98246" y="425"/>
                  <a:pt x="103264" y="1304"/>
                </a:cubicBezTo>
                <a:cubicBezTo>
                  <a:pt x="139139" y="7450"/>
                  <a:pt x="166177" y="34552"/>
                  <a:pt x="173997" y="67899"/>
                </a:cubicBezTo>
                <a:lnTo>
                  <a:pt x="175026" y="102757"/>
                </a:lnTo>
                <a:lnTo>
                  <a:pt x="182654" y="105900"/>
                </a:lnTo>
                <a:lnTo>
                  <a:pt x="190083" y="101761"/>
                </a:lnTo>
                <a:cubicBezTo>
                  <a:pt x="189374" y="97252"/>
                  <a:pt x="189034" y="92716"/>
                  <a:pt x="189034" y="88151"/>
                </a:cubicBezTo>
                <a:cubicBezTo>
                  <a:pt x="189034" y="51639"/>
                  <a:pt x="211235" y="20310"/>
                  <a:pt x="242873" y="6928"/>
                </a:cubicBezTo>
                <a:lnTo>
                  <a:pt x="277156" y="6"/>
                </a:lnTo>
                <a:lnTo>
                  <a:pt x="277156" y="142"/>
                </a:lnTo>
                <a:cubicBezTo>
                  <a:pt x="282062" y="142"/>
                  <a:pt x="286938" y="539"/>
                  <a:pt x="291758" y="1361"/>
                </a:cubicBezTo>
                <a:cubicBezTo>
                  <a:pt x="339789" y="9413"/>
                  <a:pt x="372169" y="54892"/>
                  <a:pt x="364088" y="102895"/>
                </a:cubicBezTo>
                <a:cubicBezTo>
                  <a:pt x="356036" y="150926"/>
                  <a:pt x="310557" y="183305"/>
                  <a:pt x="262554" y="175225"/>
                </a:cubicBezTo>
                <a:lnTo>
                  <a:pt x="277100" y="139953"/>
                </a:lnTo>
                <a:cubicBezTo>
                  <a:pt x="287534" y="139981"/>
                  <a:pt x="297713" y="136834"/>
                  <a:pt x="306332" y="130936"/>
                </a:cubicBezTo>
                <a:cubicBezTo>
                  <a:pt x="329865" y="114832"/>
                  <a:pt x="335905" y="82707"/>
                  <a:pt x="319800" y="59174"/>
                </a:cubicBezTo>
                <a:cubicBezTo>
                  <a:pt x="303695" y="35640"/>
                  <a:pt x="271571" y="29601"/>
                  <a:pt x="248037" y="45706"/>
                </a:cubicBezTo>
                <a:cubicBezTo>
                  <a:pt x="224504" y="61811"/>
                  <a:pt x="218465" y="93935"/>
                  <a:pt x="234569" y="117469"/>
                </a:cubicBezTo>
                <a:lnTo>
                  <a:pt x="182654" y="138564"/>
                </a:lnTo>
                <a:lnTo>
                  <a:pt x="130824" y="117213"/>
                </a:lnTo>
                <a:lnTo>
                  <a:pt x="139780" y="88250"/>
                </a:lnTo>
                <a:lnTo>
                  <a:pt x="130767" y="59032"/>
                </a:lnTo>
                <a:cubicBezTo>
                  <a:pt x="114663" y="35499"/>
                  <a:pt x="82538" y="29459"/>
                  <a:pt x="59005" y="45564"/>
                </a:cubicBezTo>
                <a:cubicBezTo>
                  <a:pt x="35471" y="61669"/>
                  <a:pt x="29432" y="93793"/>
                  <a:pt x="45537" y="117327"/>
                </a:cubicBezTo>
                <a:cubicBezTo>
                  <a:pt x="61642" y="140860"/>
                  <a:pt x="93766" y="146899"/>
                  <a:pt x="117299" y="130795"/>
                </a:cubicBezTo>
                <a:lnTo>
                  <a:pt x="138508" y="182682"/>
                </a:lnTo>
                <a:lnTo>
                  <a:pt x="117101" y="234512"/>
                </a:lnTo>
                <a:cubicBezTo>
                  <a:pt x="113585" y="232102"/>
                  <a:pt x="109786" y="230117"/>
                  <a:pt x="105760" y="228671"/>
                </a:cubicBezTo>
                <a:cubicBezTo>
                  <a:pt x="100117" y="226629"/>
                  <a:pt x="94163" y="225552"/>
                  <a:pt x="88180" y="225552"/>
                </a:cubicBezTo>
                <a:lnTo>
                  <a:pt x="88180" y="225551"/>
                </a:lnTo>
                <a:lnTo>
                  <a:pt x="58948" y="234568"/>
                </a:lnTo>
                <a:cubicBezTo>
                  <a:pt x="35415" y="250673"/>
                  <a:pt x="29376" y="282797"/>
                  <a:pt x="45480" y="306330"/>
                </a:cubicBezTo>
                <a:cubicBezTo>
                  <a:pt x="61585" y="329864"/>
                  <a:pt x="93710" y="335903"/>
                  <a:pt x="117243" y="319798"/>
                </a:cubicBezTo>
                <a:cubicBezTo>
                  <a:pt x="140776" y="303694"/>
                  <a:pt x="146816" y="271569"/>
                  <a:pt x="130711" y="248036"/>
                </a:cubicBezTo>
                <a:lnTo>
                  <a:pt x="182655" y="226799"/>
                </a:lnTo>
                <a:lnTo>
                  <a:pt x="234456" y="248149"/>
                </a:lnTo>
                <a:cubicBezTo>
                  <a:pt x="228672" y="256712"/>
                  <a:pt x="225553" y="266806"/>
                  <a:pt x="225525" y="277126"/>
                </a:cubicBezTo>
                <a:lnTo>
                  <a:pt x="182655" y="259462"/>
                </a:lnTo>
                <a:lnTo>
                  <a:pt x="175226" y="263602"/>
                </a:lnTo>
                <a:cubicBezTo>
                  <a:pt x="176672" y="272902"/>
                  <a:pt x="176615" y="282400"/>
                  <a:pt x="175056" y="291700"/>
                </a:cubicBezTo>
                <a:cubicBezTo>
                  <a:pt x="167032" y="339674"/>
                  <a:pt x="121609" y="372054"/>
                  <a:pt x="73635" y="364030"/>
                </a:cubicBezTo>
                <a:cubicBezTo>
                  <a:pt x="25661" y="356006"/>
                  <a:pt x="-6718" y="310583"/>
                  <a:pt x="1306" y="262609"/>
                </a:cubicBezTo>
                <a:cubicBezTo>
                  <a:pt x="7324" y="226629"/>
                  <a:pt x="34378" y="199420"/>
                  <a:pt x="67768" y="191450"/>
                </a:cubicBezTo>
                <a:lnTo>
                  <a:pt x="102704" y="190281"/>
                </a:lnTo>
                <a:lnTo>
                  <a:pt x="105845" y="182653"/>
                </a:lnTo>
                <a:lnTo>
                  <a:pt x="101705" y="175253"/>
                </a:lnTo>
                <a:cubicBezTo>
                  <a:pt x="97197" y="175962"/>
                  <a:pt x="92660" y="176302"/>
                  <a:pt x="88095" y="176302"/>
                </a:cubicBezTo>
                <a:cubicBezTo>
                  <a:pt x="39469" y="176274"/>
                  <a:pt x="29" y="136862"/>
                  <a:pt x="1" y="88208"/>
                </a:cubicBezTo>
                <a:cubicBezTo>
                  <a:pt x="-27" y="39525"/>
                  <a:pt x="39412" y="28"/>
                  <a:pt x="88095" y="0"/>
                </a:cubicBezTo>
                <a:close/>
              </a:path>
            </a:pathLst>
          </a:custGeom>
          <a:solidFill>
            <a:schemeClr val="bg1"/>
          </a:solidFill>
        </p:spPr>
        <p:txBody>
          <a:bodyPr wrap="square">
            <a:noAutofit/>
          </a:bodyPr>
          <a:lstStyle>
            <a:lvl1pPr>
              <a:defRPr sz="100">
                <a:solidFill>
                  <a:schemeClr val="bg1">
                    <a:alpha val="0"/>
                  </a:schemeClr>
                </a:solidFill>
              </a:defRPr>
            </a:lvl1pPr>
            <a:lvl2pPr>
              <a:defRPr>
                <a:solidFill>
                  <a:schemeClr val="bg1">
                    <a:alpha val="0"/>
                  </a:schemeClr>
                </a:solidFill>
              </a:defRPr>
            </a:lvl2pPr>
            <a:lvl3pPr>
              <a:defRPr>
                <a:solidFill>
                  <a:schemeClr val="bg1">
                    <a:alpha val="0"/>
                  </a:schemeClr>
                </a:solidFill>
              </a:defRPr>
            </a:lvl3pPr>
            <a:lvl4pPr>
              <a:defRPr>
                <a:solidFill>
                  <a:schemeClr val="bg1">
                    <a:alpha val="0"/>
                  </a:schemeClr>
                </a:solidFill>
              </a:defRPr>
            </a:lvl4pPr>
            <a:lvl5pPr>
              <a:defRPr>
                <a:solidFill>
                  <a:schemeClr val="bg1">
                    <a:alpha val="0"/>
                  </a:schemeClr>
                </a:solidFill>
              </a:defRPr>
            </a:lvl5pPr>
          </a:lstStyle>
          <a:p>
            <a:pPr lvl="0"/>
            <a:r>
              <a:rPr lang="en-US"/>
              <a:t>Click to edit Master text styles</a:t>
            </a:r>
          </a:p>
        </p:txBody>
      </p:sp>
      <p:sp>
        <p:nvSpPr>
          <p:cNvPr id="8" name="Text Placeholder 3">
            <a:extLst>
              <a:ext uri="{FF2B5EF4-FFF2-40B4-BE49-F238E27FC236}">
                <a16:creationId xmlns:a16="http://schemas.microsoft.com/office/drawing/2014/main" id="{75B7485A-AD55-E683-3486-78A2DBA1BA7E}"/>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11" name="Text Placeholder 3">
            <a:extLst>
              <a:ext uri="{FF2B5EF4-FFF2-40B4-BE49-F238E27FC236}">
                <a16:creationId xmlns:a16="http://schemas.microsoft.com/office/drawing/2014/main" id="{010248EB-08DC-67F8-0BAA-D525554D2B7A}"/>
              </a:ext>
            </a:extLst>
          </p:cNvPr>
          <p:cNvSpPr>
            <a:spLocks noGrp="1"/>
          </p:cNvSpPr>
          <p:nvPr>
            <p:ph type="body" sz="half" idx="12" hasCustomPrompt="1"/>
          </p:nvPr>
        </p:nvSpPr>
        <p:spPr>
          <a:xfrm>
            <a:off x="11355660" y="6426199"/>
            <a:ext cx="379141" cy="146380"/>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fld id="{DB91F917-4553-0B4C-86D1-30F17B222285}" type="slidenum">
              <a:rPr lang="en-US" smtClean="0"/>
              <a:t>‹#›</a:t>
            </a:fld>
            <a:endParaRPr lang="en-US" dirty="0"/>
          </a:p>
        </p:txBody>
      </p:sp>
    </p:spTree>
    <p:extLst>
      <p:ext uri="{BB962C8B-B14F-4D97-AF65-F5344CB8AC3E}">
        <p14:creationId xmlns:p14="http://schemas.microsoft.com/office/powerpoint/2010/main" val="14764113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ale Navy">
    <p:bg>
      <p:bgPr>
        <a:solidFill>
          <a:srgbClr val="E1EDFF"/>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0771293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rgbClr val="5009B5"/>
                </a:solidFill>
              </a:defRPr>
            </a:lvl1pPr>
          </a:lstStyle>
          <a:p>
            <a:r>
              <a:rPr lang="en-US" dirty="0"/>
              <a:t>Hero statement </a:t>
            </a:r>
            <a:br>
              <a:rPr lang="en-US" dirty="0"/>
            </a:br>
            <a:r>
              <a:rPr lang="en-US" dirty="0"/>
              <a:t>or divider title here</a:t>
            </a:r>
          </a:p>
        </p:txBody>
      </p:sp>
      <p:sp>
        <p:nvSpPr>
          <p:cNvPr id="18" name="TextBox 17">
            <a:extLst>
              <a:ext uri="{FF2B5EF4-FFF2-40B4-BE49-F238E27FC236}">
                <a16:creationId xmlns:a16="http://schemas.microsoft.com/office/drawing/2014/main" id="{5171EC9A-3FCB-D640-AF36-C3E697D172B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7" name="Graphic 6">
            <a:extLst>
              <a:ext uri="{FF2B5EF4-FFF2-40B4-BE49-F238E27FC236}">
                <a16:creationId xmlns:a16="http://schemas.microsoft.com/office/drawing/2014/main" id="{AB06DF94-869D-D84E-B441-85669CD6729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8" name="Text Placeholder 3">
            <a:extLst>
              <a:ext uri="{FF2B5EF4-FFF2-40B4-BE49-F238E27FC236}">
                <a16:creationId xmlns:a16="http://schemas.microsoft.com/office/drawing/2014/main" id="{D985D77B-FC1A-135C-61E1-EB34E0EBADF9}"/>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3232014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Purple">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2765841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7" name="Text Placeholder 3">
            <a:extLst>
              <a:ext uri="{FF2B5EF4-FFF2-40B4-BE49-F238E27FC236}">
                <a16:creationId xmlns:a16="http://schemas.microsoft.com/office/drawing/2014/main" id="{6694B2BC-0C99-D5BD-A22F-9EA5638BFFF2}"/>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24046448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or Statement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2AA750-F07B-144C-B416-DBC2747129E4}"/>
              </a:ext>
            </a:extLst>
          </p:cNvPr>
          <p:cNvGraphicFramePr>
            <a:graphicFrameLocks noChangeAspect="1"/>
          </p:cNvGraphicFramePr>
          <p:nvPr>
            <p:custDataLst>
              <p:tags r:id="rId1"/>
            </p:custDataLst>
            <p:extLst>
              <p:ext uri="{D42A27DB-BD31-4B8C-83A1-F6EECF244321}">
                <p14:modId xmlns:p14="http://schemas.microsoft.com/office/powerpoint/2010/main" val="36714935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E2AA750-F07B-144C-B416-DBC2747129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Arc 8">
            <a:extLst>
              <a:ext uri="{FF2B5EF4-FFF2-40B4-BE49-F238E27FC236}">
                <a16:creationId xmlns:a16="http://schemas.microsoft.com/office/drawing/2014/main" id="{3CC3D56B-1DDC-7B46-ACFF-189DADCC9727}"/>
              </a:ext>
            </a:extLst>
          </p:cNvPr>
          <p:cNvSpPr/>
          <p:nvPr/>
        </p:nvSpPr>
        <p:spPr>
          <a:xfrm rot="10800000">
            <a:off x="6817543" y="-7579128"/>
            <a:ext cx="11020827" cy="11020826"/>
          </a:xfrm>
          <a:prstGeom prst="arc">
            <a:avLst>
              <a:gd name="adj1" fmla="val 16200000"/>
              <a:gd name="adj2" fmla="val 20324932"/>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0" name="Arc 9">
            <a:extLst>
              <a:ext uri="{FF2B5EF4-FFF2-40B4-BE49-F238E27FC236}">
                <a16:creationId xmlns:a16="http://schemas.microsoft.com/office/drawing/2014/main" id="{E964816C-5828-F543-8E86-D7C70C76ED78}"/>
              </a:ext>
            </a:extLst>
          </p:cNvPr>
          <p:cNvSpPr/>
          <p:nvPr/>
        </p:nvSpPr>
        <p:spPr>
          <a:xfrm rot="16200000">
            <a:off x="6817543" y="3441700"/>
            <a:ext cx="11020826" cy="11020827"/>
          </a:xfrm>
          <a:prstGeom prst="arc">
            <a:avLst>
              <a:gd name="adj1" fmla="val 17502107"/>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1" name="Arc 10">
            <a:extLst>
              <a:ext uri="{FF2B5EF4-FFF2-40B4-BE49-F238E27FC236}">
                <a16:creationId xmlns:a16="http://schemas.microsoft.com/office/drawing/2014/main" id="{332B99F5-3B29-CC40-B944-F50BA0B0F19A}"/>
              </a:ext>
            </a:extLst>
          </p:cNvPr>
          <p:cNvSpPr/>
          <p:nvPr/>
        </p:nvSpPr>
        <p:spPr>
          <a:xfrm rot="10800000" flipH="1">
            <a:off x="-5556492" y="-7579128"/>
            <a:ext cx="11020827" cy="11020826"/>
          </a:xfrm>
          <a:prstGeom prst="arc">
            <a:avLst>
              <a:gd name="adj1" fmla="val 16200000"/>
              <a:gd name="adj2" fmla="val 20316416"/>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2" name="Arc 11">
            <a:extLst>
              <a:ext uri="{FF2B5EF4-FFF2-40B4-BE49-F238E27FC236}">
                <a16:creationId xmlns:a16="http://schemas.microsoft.com/office/drawing/2014/main" id="{2B2063DF-792C-F94D-98E4-7344283EDFAE}"/>
              </a:ext>
            </a:extLst>
          </p:cNvPr>
          <p:cNvSpPr/>
          <p:nvPr/>
        </p:nvSpPr>
        <p:spPr>
          <a:xfrm rot="5400000" flipH="1">
            <a:off x="-5556492" y="3441700"/>
            <a:ext cx="11020826" cy="11020827"/>
          </a:xfrm>
          <a:prstGeom prst="arc">
            <a:avLst>
              <a:gd name="adj1" fmla="val 17492116"/>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2" name="Title 1">
            <a:extLst>
              <a:ext uri="{FF2B5EF4-FFF2-40B4-BE49-F238E27FC236}">
                <a16:creationId xmlns:a16="http://schemas.microsoft.com/office/drawing/2014/main" id="{748361CF-360D-4700-9A5B-1320F8B47D9D}"/>
              </a:ext>
            </a:extLst>
          </p:cNvPr>
          <p:cNvSpPr>
            <a:spLocks noGrp="1"/>
          </p:cNvSpPr>
          <p:nvPr>
            <p:ph type="title" hasCustomPrompt="1"/>
          </p:nvPr>
        </p:nvSpPr>
        <p:spPr>
          <a:xfrm>
            <a:off x="457200" y="431800"/>
            <a:ext cx="8307388" cy="2146300"/>
          </a:xfrm>
        </p:spPr>
        <p:txBody>
          <a:bodyPr vert="horz"/>
          <a:lstStyle>
            <a:lvl1pPr>
              <a:defRPr sz="6600">
                <a:solidFill>
                  <a:schemeClr val="bg1"/>
                </a:solidFill>
              </a:defRPr>
            </a:lvl1pPr>
          </a:lstStyle>
          <a:p>
            <a:r>
              <a:rPr lang="en-US" dirty="0"/>
              <a:t>Hero statement </a:t>
            </a:r>
            <a:br>
              <a:rPr lang="en-US" dirty="0"/>
            </a:br>
            <a:r>
              <a:rPr lang="en-US" dirty="0"/>
              <a:t>or divider title here</a:t>
            </a:r>
          </a:p>
        </p:txBody>
      </p:sp>
      <p:sp>
        <p:nvSpPr>
          <p:cNvPr id="17" name="TextBox 16">
            <a:extLst>
              <a:ext uri="{FF2B5EF4-FFF2-40B4-BE49-F238E27FC236}">
                <a16:creationId xmlns:a16="http://schemas.microsoft.com/office/drawing/2014/main" id="{890AE740-6CAB-F549-92C4-3E31CD5CDCAC}"/>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pic>
        <p:nvPicPr>
          <p:cNvPr id="8" name="Graphic 7">
            <a:extLst>
              <a:ext uri="{FF2B5EF4-FFF2-40B4-BE49-F238E27FC236}">
                <a16:creationId xmlns:a16="http://schemas.microsoft.com/office/drawing/2014/main" id="{22C9D7E0-B66C-364D-998B-7DC36AC05D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3" name="Text Placeholder 3">
            <a:extLst>
              <a:ext uri="{FF2B5EF4-FFF2-40B4-BE49-F238E27FC236}">
                <a16:creationId xmlns:a16="http://schemas.microsoft.com/office/drawing/2014/main" id="{5C595332-B206-6F6B-3548-218057E28700}"/>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2133566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sp>
        <p:nvSpPr>
          <p:cNvPr id="11" name="Title 1">
            <a:extLst>
              <a:ext uri="{FF2B5EF4-FFF2-40B4-BE49-F238E27FC236}">
                <a16:creationId xmlns:a16="http://schemas.microsoft.com/office/drawing/2014/main" id="{1390B095-2D96-6E43-929A-E80EF478568E}"/>
              </a:ext>
            </a:extLst>
          </p:cNvPr>
          <p:cNvSpPr>
            <a:spLocks noGrp="1"/>
          </p:cNvSpPr>
          <p:nvPr>
            <p:ph type="ctrTitle" hasCustomPrompt="1"/>
          </p:nvPr>
        </p:nvSpPr>
        <p:spPr>
          <a:xfrm>
            <a:off x="415088" y="1503979"/>
            <a:ext cx="8349500" cy="1567689"/>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12" name="Subtitle 2">
            <a:extLst>
              <a:ext uri="{FF2B5EF4-FFF2-40B4-BE49-F238E27FC236}">
                <a16:creationId xmlns:a16="http://schemas.microsoft.com/office/drawing/2014/main" id="{BBE8C3BB-E299-1045-A7F2-6999E3919628}"/>
              </a:ext>
            </a:extLst>
          </p:cNvPr>
          <p:cNvSpPr>
            <a:spLocks noGrp="1"/>
          </p:cNvSpPr>
          <p:nvPr>
            <p:ph type="subTitle" idx="1" hasCustomPrompt="1"/>
          </p:nvPr>
        </p:nvSpPr>
        <p:spPr>
          <a:xfrm>
            <a:off x="415088"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3" name="Text Placeholder 11">
            <a:extLst>
              <a:ext uri="{FF2B5EF4-FFF2-40B4-BE49-F238E27FC236}">
                <a16:creationId xmlns:a16="http://schemas.microsoft.com/office/drawing/2014/main" id="{50FC71C6-D550-E544-AF63-6785F09DCCB1}"/>
              </a:ext>
            </a:extLst>
          </p:cNvPr>
          <p:cNvSpPr>
            <a:spLocks noGrp="1"/>
          </p:cNvSpPr>
          <p:nvPr>
            <p:ph type="body" sz="quarter" idx="11" hasCustomPrompt="1"/>
          </p:nvPr>
        </p:nvSpPr>
        <p:spPr>
          <a:xfrm>
            <a:off x="415088" y="4758997"/>
            <a:ext cx="5638800" cy="224536"/>
          </a:xfrm>
        </p:spPr>
        <p:txBody>
          <a:bodyPr vert="horz" lIns="0" tIns="0" rIns="0" bIns="0" rtlCol="0">
            <a:noAutofit/>
          </a:bodyPr>
          <a:lstStyle>
            <a:lvl1pPr>
              <a:defRPr lang="en-US" sz="1800" i="0" dirty="0">
                <a:solidFill>
                  <a:schemeClr val="bg1"/>
                </a:solidFill>
                <a:latin typeface="+mn-lt"/>
              </a:defRPr>
            </a:lvl1pPr>
          </a:lstStyle>
          <a:p>
            <a:pPr lvl="0"/>
            <a:r>
              <a:rPr lang="en-US" dirty="0"/>
              <a:t>Click to add date</a:t>
            </a:r>
          </a:p>
        </p:txBody>
      </p:sp>
      <p:pic>
        <p:nvPicPr>
          <p:cNvPr id="3" name="Graphic 2">
            <a:extLst>
              <a:ext uri="{FF2B5EF4-FFF2-40B4-BE49-F238E27FC236}">
                <a16:creationId xmlns:a16="http://schemas.microsoft.com/office/drawing/2014/main" id="{DD29EB13-6643-4A96-1F3D-34FE38CF341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6061" y="578755"/>
            <a:ext cx="1786364" cy="463576"/>
          </a:xfrm>
          <a:prstGeom prst="rect">
            <a:avLst/>
          </a:prstGeom>
        </p:spPr>
      </p:pic>
    </p:spTree>
    <p:extLst>
      <p:ext uri="{BB962C8B-B14F-4D97-AF65-F5344CB8AC3E}">
        <p14:creationId xmlns:p14="http://schemas.microsoft.com/office/powerpoint/2010/main" val="39627165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rgbClr val="5009B5"/>
                </a:solidFill>
                <a:latin typeface="+mj-lt"/>
              </a:defRPr>
            </a:lvl1pPr>
          </a:lstStyle>
          <a:p>
            <a:pPr lvl="0"/>
            <a:r>
              <a:rPr lang="en-US" dirty="0"/>
              <a:t>Click to edit master text styles</a:t>
            </a:r>
          </a:p>
        </p:txBody>
      </p:sp>
      <p:sp>
        <p:nvSpPr>
          <p:cNvPr id="4" name="Freeform 3">
            <a:extLst>
              <a:ext uri="{FF2B5EF4-FFF2-40B4-BE49-F238E27FC236}">
                <a16:creationId xmlns:a16="http://schemas.microsoft.com/office/drawing/2014/main" id="{BB7AEB5F-5A12-4849-8321-7BDC78220BA5}"/>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accent2"/>
          </a:solidFill>
          <a:ln w="15329" cap="flat">
            <a:noFill/>
            <a:prstDash val="solid"/>
            <a:miter/>
          </a:ln>
        </p:spPr>
        <p:txBody>
          <a:bodyPr rtlCol="0" anchor="ctr"/>
          <a:lstStyle/>
          <a:p>
            <a:endParaRPr lang="en-US" dirty="0">
              <a:solidFill>
                <a:schemeClr val="accent5"/>
              </a:solidFill>
            </a:endParaRPr>
          </a:p>
        </p:txBody>
      </p:sp>
      <p:sp>
        <p:nvSpPr>
          <p:cNvPr id="6" name="Text Placeholder 3">
            <a:extLst>
              <a:ext uri="{FF2B5EF4-FFF2-40B4-BE49-F238E27FC236}">
                <a16:creationId xmlns:a16="http://schemas.microsoft.com/office/drawing/2014/main" id="{6123F7A6-E84B-EBCA-8089-04AD763E7833}"/>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solidFill>
                  <a:schemeClr val="accent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4748317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Dark Purple">
    <p:bg>
      <p:bgPr>
        <a:solidFill>
          <a:srgbClr val="2B1B49"/>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dirty="0"/>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rgbClr val="794CFF"/>
          </a:solidFill>
          <a:ln w="15329" cap="flat">
            <a:noFill/>
            <a:prstDash val="solid"/>
            <a:miter/>
          </a:ln>
        </p:spPr>
        <p:txBody>
          <a:bodyPr rtlCol="0" anchor="ctr"/>
          <a:lstStyle/>
          <a:p>
            <a:endParaRPr lang="en-US" dirty="0"/>
          </a:p>
        </p:txBody>
      </p:sp>
      <p:pic>
        <p:nvPicPr>
          <p:cNvPr id="9" name="Graphic 8">
            <a:extLst>
              <a:ext uri="{FF2B5EF4-FFF2-40B4-BE49-F238E27FC236}">
                <a16:creationId xmlns:a16="http://schemas.microsoft.com/office/drawing/2014/main" id="{80B1E988-E9EB-CD4B-BB13-EB7636E3D89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1" name="Text Placeholder 3">
            <a:extLst>
              <a:ext uri="{FF2B5EF4-FFF2-40B4-BE49-F238E27FC236}">
                <a16:creationId xmlns:a16="http://schemas.microsoft.com/office/drawing/2014/main" id="{8A0E84BE-0926-3502-CA50-E29E674DCBDE}"/>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42213181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2800">
                <a:solidFill>
                  <a:schemeClr val="bg1"/>
                </a:solidFill>
                <a:latin typeface="+mj-lt"/>
              </a:defRPr>
            </a:lvl1pPr>
          </a:lstStyle>
          <a:p>
            <a:pPr lvl="0"/>
            <a:r>
              <a:rPr lang="en-US" dirty="0"/>
              <a:t>Click to edit master text styles</a:t>
            </a:r>
          </a:p>
        </p:txBody>
      </p:sp>
      <p:sp>
        <p:nvSpPr>
          <p:cNvPr id="10" name="TextBox 9">
            <a:extLst>
              <a:ext uri="{FF2B5EF4-FFF2-40B4-BE49-F238E27FC236}">
                <a16:creationId xmlns:a16="http://schemas.microsoft.com/office/drawing/2014/main" id="{5BEE62C7-B07C-3340-AA0C-134CBE664315}"/>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
        <p:nvSpPr>
          <p:cNvPr id="13" name="Freeform 12">
            <a:extLst>
              <a:ext uri="{FF2B5EF4-FFF2-40B4-BE49-F238E27FC236}">
                <a16:creationId xmlns:a16="http://schemas.microsoft.com/office/drawing/2014/main" id="{5D20399E-76CF-2149-B65E-025FF7F7B6B3}"/>
              </a:ext>
            </a:extLst>
          </p:cNvPr>
          <p:cNvSpPr/>
          <p:nvPr/>
        </p:nvSpPr>
        <p:spPr>
          <a:xfrm>
            <a:off x="457200" y="1229951"/>
            <a:ext cx="713929" cy="542703"/>
          </a:xfrm>
          <a:custGeom>
            <a:avLst/>
            <a:gdLst>
              <a:gd name="connsiteX0" fmla="*/ 0 w 713929"/>
              <a:gd name="connsiteY0" fmla="*/ 405722 h 542703"/>
              <a:gd name="connsiteX1" fmla="*/ 44841 w 713929"/>
              <a:gd name="connsiteY1" fmla="*/ 276573 h 542703"/>
              <a:gd name="connsiteX2" fmla="*/ 205472 w 713929"/>
              <a:gd name="connsiteY2" fmla="*/ 0 h 542703"/>
              <a:gd name="connsiteX3" fmla="*/ 321414 w 713929"/>
              <a:gd name="connsiteY3" fmla="*/ 0 h 542703"/>
              <a:gd name="connsiteX4" fmla="*/ 187044 w 713929"/>
              <a:gd name="connsiteY4" fmla="*/ 281948 h 542703"/>
              <a:gd name="connsiteX5" fmla="*/ 279183 w 713929"/>
              <a:gd name="connsiteY5" fmla="*/ 405722 h 542703"/>
              <a:gd name="connsiteX6" fmla="*/ 139592 w 713929"/>
              <a:gd name="connsiteY6" fmla="*/ 542703 h 542703"/>
              <a:gd name="connsiteX7" fmla="*/ 0 w 713929"/>
              <a:gd name="connsiteY7" fmla="*/ 405722 h 542703"/>
              <a:gd name="connsiteX8" fmla="*/ 392515 w 713929"/>
              <a:gd name="connsiteY8" fmla="*/ 405722 h 542703"/>
              <a:gd name="connsiteX9" fmla="*/ 434592 w 713929"/>
              <a:gd name="connsiteY9" fmla="*/ 276573 h 542703"/>
              <a:gd name="connsiteX10" fmla="*/ 595376 w 713929"/>
              <a:gd name="connsiteY10" fmla="*/ 0 h 542703"/>
              <a:gd name="connsiteX11" fmla="*/ 713930 w 713929"/>
              <a:gd name="connsiteY11" fmla="*/ 0 h 542703"/>
              <a:gd name="connsiteX12" fmla="*/ 579559 w 713929"/>
              <a:gd name="connsiteY12" fmla="*/ 281948 h 542703"/>
              <a:gd name="connsiteX13" fmla="*/ 669088 w 713929"/>
              <a:gd name="connsiteY13" fmla="*/ 405722 h 542703"/>
              <a:gd name="connsiteX14" fmla="*/ 532107 w 713929"/>
              <a:gd name="connsiteY14" fmla="*/ 542703 h 542703"/>
              <a:gd name="connsiteX15" fmla="*/ 392515 w 713929"/>
              <a:gd name="connsiteY15" fmla="*/ 405722 h 542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3929" h="542703">
                <a:moveTo>
                  <a:pt x="0" y="405722"/>
                </a:moveTo>
                <a:cubicBezTo>
                  <a:pt x="0" y="368866"/>
                  <a:pt x="13207" y="324025"/>
                  <a:pt x="44841" y="276573"/>
                </a:cubicBezTo>
                <a:lnTo>
                  <a:pt x="205472" y="0"/>
                </a:lnTo>
                <a:lnTo>
                  <a:pt x="321414" y="0"/>
                </a:lnTo>
                <a:lnTo>
                  <a:pt x="187044" y="281948"/>
                </a:lnTo>
                <a:cubicBezTo>
                  <a:pt x="239717" y="302986"/>
                  <a:pt x="279183" y="347828"/>
                  <a:pt x="279183" y="405722"/>
                </a:cubicBezTo>
                <a:cubicBezTo>
                  <a:pt x="279183" y="482044"/>
                  <a:pt x="218525" y="542703"/>
                  <a:pt x="139592" y="542703"/>
                </a:cubicBezTo>
                <a:cubicBezTo>
                  <a:pt x="60659" y="542703"/>
                  <a:pt x="0" y="482044"/>
                  <a:pt x="0" y="405722"/>
                </a:cubicBezTo>
                <a:close/>
                <a:moveTo>
                  <a:pt x="392515" y="405722"/>
                </a:moveTo>
                <a:cubicBezTo>
                  <a:pt x="392515" y="368866"/>
                  <a:pt x="405722" y="324025"/>
                  <a:pt x="434592" y="276573"/>
                </a:cubicBezTo>
                <a:lnTo>
                  <a:pt x="595376" y="0"/>
                </a:lnTo>
                <a:lnTo>
                  <a:pt x="713930" y="0"/>
                </a:lnTo>
                <a:lnTo>
                  <a:pt x="579559" y="281948"/>
                </a:lnTo>
                <a:cubicBezTo>
                  <a:pt x="632232" y="302986"/>
                  <a:pt x="669088" y="347828"/>
                  <a:pt x="669088" y="405722"/>
                </a:cubicBezTo>
                <a:cubicBezTo>
                  <a:pt x="669088" y="482044"/>
                  <a:pt x="611194" y="542703"/>
                  <a:pt x="532107" y="542703"/>
                </a:cubicBezTo>
                <a:cubicBezTo>
                  <a:pt x="453020" y="542703"/>
                  <a:pt x="392515" y="482044"/>
                  <a:pt x="392515" y="405722"/>
                </a:cubicBezTo>
                <a:close/>
              </a:path>
            </a:pathLst>
          </a:custGeom>
          <a:solidFill>
            <a:schemeClr val="bg1"/>
          </a:solidFill>
          <a:ln w="15329" cap="flat">
            <a:noFill/>
            <a:prstDash val="solid"/>
            <a:miter/>
          </a:ln>
        </p:spPr>
        <p:txBody>
          <a:bodyPr rtlCol="0" anchor="ctr"/>
          <a:lstStyle/>
          <a:p>
            <a:endParaRPr lang="en-US" dirty="0"/>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1" name="Text Placeholder 3">
            <a:extLst>
              <a:ext uri="{FF2B5EF4-FFF2-40B4-BE49-F238E27FC236}">
                <a16:creationId xmlns:a16="http://schemas.microsoft.com/office/drawing/2014/main" id="{F31779F3-C469-2636-CCD6-86F5AF43239A}"/>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1122258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r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6BD2943-DB3A-6F45-8E73-6B1C54FB6CB8}"/>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22972913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9" name="Content Placeholder 2">
            <a:extLst>
              <a:ext uri="{FF2B5EF4-FFF2-40B4-BE49-F238E27FC236}">
                <a16:creationId xmlns:a16="http://schemas.microsoft.com/office/drawing/2014/main" id="{4D13FCD8-11F4-9046-9E35-10C205A4D8EF}"/>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a:extLst>
              <a:ext uri="{FF2B5EF4-FFF2-40B4-BE49-F238E27FC236}">
                <a16:creationId xmlns:a16="http://schemas.microsoft.com/office/drawing/2014/main" id="{62D96444-6307-6846-757F-F0E3C5533CC3}"/>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205484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r 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4D345-2197-6D4C-8F0D-3BC6B2AB1F25}"/>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63532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237868D-9B84-AE4F-B833-8E8C7F585207}"/>
              </a:ext>
            </a:extLst>
          </p:cNvPr>
          <p:cNvSpPr>
            <a:spLocks noGrp="1"/>
          </p:cNvSpPr>
          <p:nvPr>
            <p:ph type="title" hasCustomPrompt="1"/>
          </p:nvPr>
        </p:nvSpPr>
        <p:spPr/>
        <p:txBody>
          <a:bodyPr/>
          <a:lstStyle/>
          <a:p>
            <a:r>
              <a:rPr lang="en-US" dirty="0"/>
              <a:t>Click to edit master title style</a:t>
            </a:r>
          </a:p>
        </p:txBody>
      </p:sp>
      <p:sp>
        <p:nvSpPr>
          <p:cNvPr id="9" name="Content Placeholder 5">
            <a:extLst>
              <a:ext uri="{FF2B5EF4-FFF2-40B4-BE49-F238E27FC236}">
                <a16:creationId xmlns:a16="http://schemas.microsoft.com/office/drawing/2014/main" id="{414C1B55-FB49-1B45-80DF-F67865047AC0}"/>
              </a:ext>
            </a:extLst>
          </p:cNvPr>
          <p:cNvSpPr>
            <a:spLocks noGrp="1"/>
          </p:cNvSpPr>
          <p:nvPr>
            <p:ph sz="quarter" idx="11" hasCustomPrompt="1"/>
          </p:nvPr>
        </p:nvSpPr>
        <p:spPr>
          <a:xfrm>
            <a:off x="457199" y="1691640"/>
            <a:ext cx="5529263" cy="431546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5">
            <a:extLst>
              <a:ext uri="{FF2B5EF4-FFF2-40B4-BE49-F238E27FC236}">
                <a16:creationId xmlns:a16="http://schemas.microsoft.com/office/drawing/2014/main" id="{3CE53746-D2D1-A542-9C3B-721279458886}"/>
              </a:ext>
            </a:extLst>
          </p:cNvPr>
          <p:cNvSpPr>
            <a:spLocks noGrp="1"/>
          </p:cNvSpPr>
          <p:nvPr>
            <p:ph sz="quarter" idx="12" hasCustomPrompt="1"/>
          </p:nvPr>
        </p:nvSpPr>
        <p:spPr>
          <a:xfrm>
            <a:off x="6215063" y="1691640"/>
            <a:ext cx="5529263" cy="431546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a:extLst>
              <a:ext uri="{FF2B5EF4-FFF2-40B4-BE49-F238E27FC236}">
                <a16:creationId xmlns:a16="http://schemas.microsoft.com/office/drawing/2014/main" id="{8ED10CDB-97ED-C7F6-7D61-9D593116A4AB}"/>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931057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r Three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B14E8-876B-374C-8CD3-A164EDD6BA34}"/>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23292488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581CAC1E-A9D0-C348-9CA5-ACB7F2A85EDF}"/>
              </a:ext>
            </a:extLst>
          </p:cNvPr>
          <p:cNvSpPr>
            <a:spLocks noGrp="1"/>
          </p:cNvSpPr>
          <p:nvPr>
            <p:ph type="title" hasCustomPrompt="1"/>
          </p:nvPr>
        </p:nvSpPr>
        <p:spPr/>
        <p:txBody>
          <a:bodyPr/>
          <a:lstStyle/>
          <a:p>
            <a:r>
              <a:rPr lang="en-US" dirty="0"/>
              <a:t>Click to edit master title style</a:t>
            </a:r>
          </a:p>
        </p:txBody>
      </p:sp>
      <p:sp>
        <p:nvSpPr>
          <p:cNvPr id="12" name="Content Placeholder 5">
            <a:extLst>
              <a:ext uri="{FF2B5EF4-FFF2-40B4-BE49-F238E27FC236}">
                <a16:creationId xmlns:a16="http://schemas.microsoft.com/office/drawing/2014/main" id="{C1C43114-B0E1-2846-9078-B6D57EAF7066}"/>
              </a:ext>
            </a:extLst>
          </p:cNvPr>
          <p:cNvSpPr>
            <a:spLocks noGrp="1"/>
          </p:cNvSpPr>
          <p:nvPr>
            <p:ph sz="quarter" idx="11" hasCustomPrompt="1"/>
          </p:nvPr>
        </p:nvSpPr>
        <p:spPr>
          <a:xfrm>
            <a:off x="457200" y="1691640"/>
            <a:ext cx="3609976" cy="431546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5">
            <a:extLst>
              <a:ext uri="{FF2B5EF4-FFF2-40B4-BE49-F238E27FC236}">
                <a16:creationId xmlns:a16="http://schemas.microsoft.com/office/drawing/2014/main" id="{021BE228-66AE-6843-8E02-F38AB2654096}"/>
              </a:ext>
            </a:extLst>
          </p:cNvPr>
          <p:cNvSpPr>
            <a:spLocks noGrp="1"/>
          </p:cNvSpPr>
          <p:nvPr>
            <p:ph sz="quarter" idx="13" hasCustomPrompt="1"/>
          </p:nvPr>
        </p:nvSpPr>
        <p:spPr>
          <a:xfrm>
            <a:off x="4295273" y="1691640"/>
            <a:ext cx="3609976" cy="431546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5">
            <a:extLst>
              <a:ext uri="{FF2B5EF4-FFF2-40B4-BE49-F238E27FC236}">
                <a16:creationId xmlns:a16="http://schemas.microsoft.com/office/drawing/2014/main" id="{9AB33A90-9E8D-1947-98FD-768EFEB80DE8}"/>
              </a:ext>
            </a:extLst>
          </p:cNvPr>
          <p:cNvSpPr>
            <a:spLocks noGrp="1"/>
          </p:cNvSpPr>
          <p:nvPr>
            <p:ph sz="quarter" idx="14" hasCustomPrompt="1"/>
          </p:nvPr>
        </p:nvSpPr>
        <p:spPr>
          <a:xfrm>
            <a:off x="8133346" y="1691640"/>
            <a:ext cx="3598406" cy="431546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76450561-FEC9-12F0-41A9-75A8982607BC}"/>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17931177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r Four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CB2052-3245-174F-AC3A-24DE254967CC}"/>
              </a:ext>
            </a:extLst>
          </p:cNvPr>
          <p:cNvSpPr/>
          <p:nvPr/>
        </p:nvSpPr>
        <p:spPr>
          <a:xfrm>
            <a:off x="0" y="0"/>
            <a:ext cx="12192000" cy="1207008"/>
          </a:xfrm>
          <a:prstGeom prst="rect">
            <a:avLst/>
          </a:prstGeom>
          <a:solidFill>
            <a:srgbClr val="E1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aphicFrame>
        <p:nvGraphicFramePr>
          <p:cNvPr id="8" name="Object 7" hidden="1">
            <a:extLst>
              <a:ext uri="{FF2B5EF4-FFF2-40B4-BE49-F238E27FC236}">
                <a16:creationId xmlns:a16="http://schemas.microsoft.com/office/drawing/2014/main" id="{C5B0DF66-7FB8-254D-86AC-C0A1063CF651}"/>
              </a:ext>
            </a:extLst>
          </p:cNvPr>
          <p:cNvGraphicFramePr>
            <a:graphicFrameLocks noChangeAspect="1"/>
          </p:cNvGraphicFramePr>
          <p:nvPr>
            <p:custDataLst>
              <p:tags r:id="rId1"/>
            </p:custDataLst>
            <p:extLst>
              <p:ext uri="{D42A27DB-BD31-4B8C-83A1-F6EECF244321}">
                <p14:modId xmlns:p14="http://schemas.microsoft.com/office/powerpoint/2010/main" val="37802702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C5B0DF66-7FB8-254D-86AC-C0A1063CF65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E4186CE-9B9E-5841-BFD2-4B0A423A8DC0}"/>
              </a:ext>
            </a:extLst>
          </p:cNvPr>
          <p:cNvSpPr>
            <a:spLocks noGrp="1"/>
          </p:cNvSpPr>
          <p:nvPr>
            <p:ph type="title" hasCustomPrompt="1"/>
          </p:nvPr>
        </p:nvSpPr>
        <p:spPr/>
        <p:txBody>
          <a:bodyPr/>
          <a:lstStyle/>
          <a:p>
            <a:r>
              <a:rPr lang="en-US" dirty="0"/>
              <a:t>Click to edit master title style</a:t>
            </a:r>
          </a:p>
        </p:txBody>
      </p:sp>
      <p:sp>
        <p:nvSpPr>
          <p:cNvPr id="10" name="Text Placeholder 3">
            <a:extLst>
              <a:ext uri="{FF2B5EF4-FFF2-40B4-BE49-F238E27FC236}">
                <a16:creationId xmlns:a16="http://schemas.microsoft.com/office/drawing/2014/main" id="{BE38FF19-B9DC-BEC5-6922-35EBAAFCB8BE}"/>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
        <p:nvSpPr>
          <p:cNvPr id="12" name="Content Placeholder 3">
            <a:extLst>
              <a:ext uri="{FF2B5EF4-FFF2-40B4-BE49-F238E27FC236}">
                <a16:creationId xmlns:a16="http://schemas.microsoft.com/office/drawing/2014/main" id="{CEE01E8D-84E1-AD12-A782-E87DA9984AC7}"/>
              </a:ext>
            </a:extLst>
          </p:cNvPr>
          <p:cNvSpPr>
            <a:spLocks noGrp="1"/>
          </p:cNvSpPr>
          <p:nvPr>
            <p:ph sz="quarter" idx="21"/>
          </p:nvPr>
        </p:nvSpPr>
        <p:spPr>
          <a:xfrm>
            <a:off x="475443" y="1691641"/>
            <a:ext cx="264082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a:extLst>
              <a:ext uri="{FF2B5EF4-FFF2-40B4-BE49-F238E27FC236}">
                <a16:creationId xmlns:a16="http://schemas.microsoft.com/office/drawing/2014/main" id="{40A5DD05-C4B6-9843-A62D-C443760176FF}"/>
              </a:ext>
            </a:extLst>
          </p:cNvPr>
          <p:cNvSpPr>
            <a:spLocks noGrp="1"/>
          </p:cNvSpPr>
          <p:nvPr>
            <p:ph sz="quarter" idx="22"/>
          </p:nvPr>
        </p:nvSpPr>
        <p:spPr>
          <a:xfrm>
            <a:off x="3348289" y="1691641"/>
            <a:ext cx="264082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a:extLst>
              <a:ext uri="{FF2B5EF4-FFF2-40B4-BE49-F238E27FC236}">
                <a16:creationId xmlns:a16="http://schemas.microsoft.com/office/drawing/2014/main" id="{F93CE002-5F00-5D51-39E4-CDE4D7B5FA5E}"/>
              </a:ext>
            </a:extLst>
          </p:cNvPr>
          <p:cNvSpPr>
            <a:spLocks noGrp="1"/>
          </p:cNvSpPr>
          <p:nvPr>
            <p:ph sz="quarter" idx="23"/>
          </p:nvPr>
        </p:nvSpPr>
        <p:spPr>
          <a:xfrm>
            <a:off x="6221135" y="1691641"/>
            <a:ext cx="264082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45A1531-CBA7-6DF4-28FE-E74AA1D63197}"/>
              </a:ext>
            </a:extLst>
          </p:cNvPr>
          <p:cNvSpPr>
            <a:spLocks noGrp="1"/>
          </p:cNvSpPr>
          <p:nvPr>
            <p:ph sz="quarter" idx="24"/>
          </p:nvPr>
        </p:nvSpPr>
        <p:spPr>
          <a:xfrm>
            <a:off x="9093980" y="1691641"/>
            <a:ext cx="2640820" cy="4315460"/>
          </a:xfrm>
        </p:spPr>
        <p:txBody>
          <a:bodyPr/>
          <a:lstStyle>
            <a:lvl1pPr>
              <a:spcBef>
                <a:spcPts val="1600"/>
              </a:spcBef>
              <a:defRPr sz="1600"/>
            </a:lvl1pPr>
            <a:lvl2pPr>
              <a:spcBef>
                <a:spcPts val="1600"/>
              </a:spcBef>
              <a:defRPr sz="1600"/>
            </a:lvl2pPr>
            <a:lvl3pPr>
              <a:spcBef>
                <a:spcPts val="1600"/>
              </a:spcBef>
              <a:defRPr sz="1600"/>
            </a:lvl3pPr>
            <a:lvl4pPr>
              <a:spcBef>
                <a:spcPts val="1600"/>
              </a:spcBef>
              <a:defRPr sz="1600"/>
            </a:lvl4pPr>
            <a:lvl5pPr>
              <a:spcBef>
                <a:spcPts val="1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19557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0F62E-226D-824B-B8DB-2C89D7A653EA}"/>
              </a:ext>
            </a:extLst>
          </p:cNvPr>
          <p:cNvSpPr>
            <a:spLocks noGrp="1"/>
          </p:cNvSpPr>
          <p:nvPr>
            <p:ph type="title" hasCustomPrompt="1"/>
          </p:nvPr>
        </p:nvSpPr>
        <p:spPr/>
        <p:txBody>
          <a:bodyPr/>
          <a:lstStyle/>
          <a:p>
            <a:r>
              <a:rPr lang="en-US" dirty="0"/>
              <a:t>Click to edit master title style</a:t>
            </a:r>
          </a:p>
        </p:txBody>
      </p:sp>
      <p:sp>
        <p:nvSpPr>
          <p:cNvPr id="5" name="Text Placeholder 4">
            <a:extLst>
              <a:ext uri="{FF2B5EF4-FFF2-40B4-BE49-F238E27FC236}">
                <a16:creationId xmlns:a16="http://schemas.microsoft.com/office/drawing/2014/main" id="{8FE593D0-EE65-A94C-979B-4EB5160A52D5}"/>
              </a:ext>
            </a:extLst>
          </p:cNvPr>
          <p:cNvSpPr>
            <a:spLocks noGrp="1"/>
          </p:cNvSpPr>
          <p:nvPr>
            <p:ph type="body" sz="quarter" idx="12" hasCustomPrompt="1"/>
          </p:nvPr>
        </p:nvSpPr>
        <p:spPr>
          <a:xfrm>
            <a:off x="46355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6" name="Text Placeholder 4">
            <a:extLst>
              <a:ext uri="{FF2B5EF4-FFF2-40B4-BE49-F238E27FC236}">
                <a16:creationId xmlns:a16="http://schemas.microsoft.com/office/drawing/2014/main" id="{A4F42A18-507B-2A47-B6EA-97335445F084}"/>
              </a:ext>
            </a:extLst>
          </p:cNvPr>
          <p:cNvSpPr>
            <a:spLocks noGrp="1"/>
          </p:cNvSpPr>
          <p:nvPr>
            <p:ph type="body" sz="quarter" idx="13" hasCustomPrompt="1"/>
          </p:nvPr>
        </p:nvSpPr>
        <p:spPr>
          <a:xfrm>
            <a:off x="46355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8" name="Picture Placeholder 7">
            <a:extLst>
              <a:ext uri="{FF2B5EF4-FFF2-40B4-BE49-F238E27FC236}">
                <a16:creationId xmlns:a16="http://schemas.microsoft.com/office/drawing/2014/main" id="{7136F8D8-9E9A-7C43-880A-D35701E32683}"/>
              </a:ext>
            </a:extLst>
          </p:cNvPr>
          <p:cNvSpPr>
            <a:spLocks noGrp="1"/>
          </p:cNvSpPr>
          <p:nvPr>
            <p:ph type="pic" sz="quarter" idx="14"/>
          </p:nvPr>
        </p:nvSpPr>
        <p:spPr>
          <a:xfrm>
            <a:off x="84613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9" name="Text Placeholder 4">
            <a:extLst>
              <a:ext uri="{FF2B5EF4-FFF2-40B4-BE49-F238E27FC236}">
                <a16:creationId xmlns:a16="http://schemas.microsoft.com/office/drawing/2014/main" id="{9ADE556B-B119-6F48-A31A-9BF6AEDC91BB}"/>
              </a:ext>
            </a:extLst>
          </p:cNvPr>
          <p:cNvSpPr>
            <a:spLocks noGrp="1"/>
          </p:cNvSpPr>
          <p:nvPr>
            <p:ph type="body" sz="quarter" idx="15" hasCustomPrompt="1"/>
          </p:nvPr>
        </p:nvSpPr>
        <p:spPr>
          <a:xfrm>
            <a:off x="237911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0" name="Text Placeholder 4">
            <a:extLst>
              <a:ext uri="{FF2B5EF4-FFF2-40B4-BE49-F238E27FC236}">
                <a16:creationId xmlns:a16="http://schemas.microsoft.com/office/drawing/2014/main" id="{DBE864A2-9804-E543-A5CE-8D60A0A295DC}"/>
              </a:ext>
            </a:extLst>
          </p:cNvPr>
          <p:cNvSpPr>
            <a:spLocks noGrp="1"/>
          </p:cNvSpPr>
          <p:nvPr>
            <p:ph type="body" sz="quarter" idx="16" hasCustomPrompt="1"/>
          </p:nvPr>
        </p:nvSpPr>
        <p:spPr>
          <a:xfrm>
            <a:off x="237911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1" name="Picture Placeholder 7">
            <a:extLst>
              <a:ext uri="{FF2B5EF4-FFF2-40B4-BE49-F238E27FC236}">
                <a16:creationId xmlns:a16="http://schemas.microsoft.com/office/drawing/2014/main" id="{B419F68C-84F4-CA45-BF35-6C80E7E9133B}"/>
              </a:ext>
            </a:extLst>
          </p:cNvPr>
          <p:cNvSpPr>
            <a:spLocks noGrp="1"/>
          </p:cNvSpPr>
          <p:nvPr>
            <p:ph type="pic" sz="quarter" idx="17"/>
          </p:nvPr>
        </p:nvSpPr>
        <p:spPr>
          <a:xfrm>
            <a:off x="276170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2" name="Text Placeholder 4">
            <a:extLst>
              <a:ext uri="{FF2B5EF4-FFF2-40B4-BE49-F238E27FC236}">
                <a16:creationId xmlns:a16="http://schemas.microsoft.com/office/drawing/2014/main" id="{01CB1C99-74B5-174F-98C0-171233B66025}"/>
              </a:ext>
            </a:extLst>
          </p:cNvPr>
          <p:cNvSpPr>
            <a:spLocks noGrp="1"/>
          </p:cNvSpPr>
          <p:nvPr>
            <p:ph type="body" sz="quarter" idx="18" hasCustomPrompt="1"/>
          </p:nvPr>
        </p:nvSpPr>
        <p:spPr>
          <a:xfrm>
            <a:off x="4308035"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3" name="Text Placeholder 4">
            <a:extLst>
              <a:ext uri="{FF2B5EF4-FFF2-40B4-BE49-F238E27FC236}">
                <a16:creationId xmlns:a16="http://schemas.microsoft.com/office/drawing/2014/main" id="{824E4549-6E6F-7745-AB1B-8EDC747F883F}"/>
              </a:ext>
            </a:extLst>
          </p:cNvPr>
          <p:cNvSpPr>
            <a:spLocks noGrp="1"/>
          </p:cNvSpPr>
          <p:nvPr>
            <p:ph type="body" sz="quarter" idx="19" hasCustomPrompt="1"/>
          </p:nvPr>
        </p:nvSpPr>
        <p:spPr>
          <a:xfrm>
            <a:off x="4308035"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4" name="Picture Placeholder 7">
            <a:extLst>
              <a:ext uri="{FF2B5EF4-FFF2-40B4-BE49-F238E27FC236}">
                <a16:creationId xmlns:a16="http://schemas.microsoft.com/office/drawing/2014/main" id="{29D27A29-F9E8-6346-A5EF-5DA6EA07F1CC}"/>
              </a:ext>
            </a:extLst>
          </p:cNvPr>
          <p:cNvSpPr>
            <a:spLocks noGrp="1"/>
          </p:cNvSpPr>
          <p:nvPr>
            <p:ph type="pic" sz="quarter" idx="20"/>
          </p:nvPr>
        </p:nvSpPr>
        <p:spPr>
          <a:xfrm>
            <a:off x="4690622"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5" name="Text Placeholder 4">
            <a:extLst>
              <a:ext uri="{FF2B5EF4-FFF2-40B4-BE49-F238E27FC236}">
                <a16:creationId xmlns:a16="http://schemas.microsoft.com/office/drawing/2014/main" id="{CEBB509A-6317-3047-B130-69533D44DA2C}"/>
              </a:ext>
            </a:extLst>
          </p:cNvPr>
          <p:cNvSpPr>
            <a:spLocks noGrp="1"/>
          </p:cNvSpPr>
          <p:nvPr>
            <p:ph type="body" sz="quarter" idx="21" hasCustomPrompt="1"/>
          </p:nvPr>
        </p:nvSpPr>
        <p:spPr>
          <a:xfrm>
            <a:off x="621692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6" name="Text Placeholder 4">
            <a:extLst>
              <a:ext uri="{FF2B5EF4-FFF2-40B4-BE49-F238E27FC236}">
                <a16:creationId xmlns:a16="http://schemas.microsoft.com/office/drawing/2014/main" id="{87C8E29D-1DF4-E64B-B1A0-057FB56DD8F8}"/>
              </a:ext>
            </a:extLst>
          </p:cNvPr>
          <p:cNvSpPr>
            <a:spLocks noGrp="1"/>
          </p:cNvSpPr>
          <p:nvPr>
            <p:ph type="body" sz="quarter" idx="22" hasCustomPrompt="1"/>
          </p:nvPr>
        </p:nvSpPr>
        <p:spPr>
          <a:xfrm>
            <a:off x="621692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17" name="Picture Placeholder 7">
            <a:extLst>
              <a:ext uri="{FF2B5EF4-FFF2-40B4-BE49-F238E27FC236}">
                <a16:creationId xmlns:a16="http://schemas.microsoft.com/office/drawing/2014/main" id="{0BD9928C-5B7E-4748-9D80-5DE690EE3BC9}"/>
              </a:ext>
            </a:extLst>
          </p:cNvPr>
          <p:cNvSpPr>
            <a:spLocks noGrp="1"/>
          </p:cNvSpPr>
          <p:nvPr>
            <p:ph type="pic" sz="quarter" idx="23"/>
          </p:nvPr>
        </p:nvSpPr>
        <p:spPr>
          <a:xfrm>
            <a:off x="659951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18" name="Text Placeholder 4">
            <a:extLst>
              <a:ext uri="{FF2B5EF4-FFF2-40B4-BE49-F238E27FC236}">
                <a16:creationId xmlns:a16="http://schemas.microsoft.com/office/drawing/2014/main" id="{FE3CBF30-81DD-0A43-8A15-60197C866CAF}"/>
              </a:ext>
            </a:extLst>
          </p:cNvPr>
          <p:cNvSpPr>
            <a:spLocks noGrp="1"/>
          </p:cNvSpPr>
          <p:nvPr>
            <p:ph type="body" sz="quarter" idx="24" hasCustomPrompt="1"/>
          </p:nvPr>
        </p:nvSpPr>
        <p:spPr>
          <a:xfrm>
            <a:off x="8139170"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19" name="Text Placeholder 4">
            <a:extLst>
              <a:ext uri="{FF2B5EF4-FFF2-40B4-BE49-F238E27FC236}">
                <a16:creationId xmlns:a16="http://schemas.microsoft.com/office/drawing/2014/main" id="{199B807F-816B-6C48-B219-89F944F4EBAC}"/>
              </a:ext>
            </a:extLst>
          </p:cNvPr>
          <p:cNvSpPr>
            <a:spLocks noGrp="1"/>
          </p:cNvSpPr>
          <p:nvPr>
            <p:ph type="body" sz="quarter" idx="25" hasCustomPrompt="1"/>
          </p:nvPr>
        </p:nvSpPr>
        <p:spPr>
          <a:xfrm>
            <a:off x="8139170"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0" name="Picture Placeholder 7">
            <a:extLst>
              <a:ext uri="{FF2B5EF4-FFF2-40B4-BE49-F238E27FC236}">
                <a16:creationId xmlns:a16="http://schemas.microsoft.com/office/drawing/2014/main" id="{8A8BF656-1C8C-6649-A301-D3C1DB5EA165}"/>
              </a:ext>
            </a:extLst>
          </p:cNvPr>
          <p:cNvSpPr>
            <a:spLocks noGrp="1"/>
          </p:cNvSpPr>
          <p:nvPr>
            <p:ph type="pic" sz="quarter" idx="26"/>
          </p:nvPr>
        </p:nvSpPr>
        <p:spPr>
          <a:xfrm>
            <a:off x="8521757"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1" name="Text Placeholder 4">
            <a:extLst>
              <a:ext uri="{FF2B5EF4-FFF2-40B4-BE49-F238E27FC236}">
                <a16:creationId xmlns:a16="http://schemas.microsoft.com/office/drawing/2014/main" id="{8E97B3CF-F3AF-0847-973F-35EB62E0DB15}"/>
              </a:ext>
            </a:extLst>
          </p:cNvPr>
          <p:cNvSpPr>
            <a:spLocks noGrp="1"/>
          </p:cNvSpPr>
          <p:nvPr>
            <p:ph type="body" sz="quarter" idx="27" hasCustomPrompt="1"/>
          </p:nvPr>
        </p:nvSpPr>
        <p:spPr>
          <a:xfrm>
            <a:off x="10054738" y="2762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2" name="Text Placeholder 4">
            <a:extLst>
              <a:ext uri="{FF2B5EF4-FFF2-40B4-BE49-F238E27FC236}">
                <a16:creationId xmlns:a16="http://schemas.microsoft.com/office/drawing/2014/main" id="{4000D23D-524D-D842-BDC0-1528A56D18D3}"/>
              </a:ext>
            </a:extLst>
          </p:cNvPr>
          <p:cNvSpPr>
            <a:spLocks noGrp="1"/>
          </p:cNvSpPr>
          <p:nvPr>
            <p:ph type="body" sz="quarter" idx="28" hasCustomPrompt="1"/>
          </p:nvPr>
        </p:nvSpPr>
        <p:spPr>
          <a:xfrm>
            <a:off x="10054738" y="3012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3" name="Picture Placeholder 7">
            <a:extLst>
              <a:ext uri="{FF2B5EF4-FFF2-40B4-BE49-F238E27FC236}">
                <a16:creationId xmlns:a16="http://schemas.microsoft.com/office/drawing/2014/main" id="{8ACF24C7-C577-1740-83D4-188B3F6A4CCB}"/>
              </a:ext>
            </a:extLst>
          </p:cNvPr>
          <p:cNvSpPr>
            <a:spLocks noGrp="1"/>
          </p:cNvSpPr>
          <p:nvPr>
            <p:ph type="pic" sz="quarter" idx="29"/>
          </p:nvPr>
        </p:nvSpPr>
        <p:spPr>
          <a:xfrm>
            <a:off x="10437325" y="1727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4" name="Text Placeholder 4">
            <a:extLst>
              <a:ext uri="{FF2B5EF4-FFF2-40B4-BE49-F238E27FC236}">
                <a16:creationId xmlns:a16="http://schemas.microsoft.com/office/drawing/2014/main" id="{E97CDEC1-E73D-F846-83AB-C6232AFCC7A0}"/>
              </a:ext>
            </a:extLst>
          </p:cNvPr>
          <p:cNvSpPr>
            <a:spLocks noGrp="1"/>
          </p:cNvSpPr>
          <p:nvPr>
            <p:ph type="body" sz="quarter" idx="30" hasCustomPrompt="1"/>
          </p:nvPr>
        </p:nvSpPr>
        <p:spPr>
          <a:xfrm>
            <a:off x="46355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5" name="Text Placeholder 4">
            <a:extLst>
              <a:ext uri="{FF2B5EF4-FFF2-40B4-BE49-F238E27FC236}">
                <a16:creationId xmlns:a16="http://schemas.microsoft.com/office/drawing/2014/main" id="{3A0FC742-28EF-1F4F-98A3-67EDF60D9541}"/>
              </a:ext>
            </a:extLst>
          </p:cNvPr>
          <p:cNvSpPr>
            <a:spLocks noGrp="1"/>
          </p:cNvSpPr>
          <p:nvPr>
            <p:ph type="body" sz="quarter" idx="31" hasCustomPrompt="1"/>
          </p:nvPr>
        </p:nvSpPr>
        <p:spPr>
          <a:xfrm>
            <a:off x="46355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6" name="Picture Placeholder 7">
            <a:extLst>
              <a:ext uri="{FF2B5EF4-FFF2-40B4-BE49-F238E27FC236}">
                <a16:creationId xmlns:a16="http://schemas.microsoft.com/office/drawing/2014/main" id="{AC2C9A8D-A59D-3545-BBA0-D20E682673F9}"/>
              </a:ext>
            </a:extLst>
          </p:cNvPr>
          <p:cNvSpPr>
            <a:spLocks noGrp="1"/>
          </p:cNvSpPr>
          <p:nvPr>
            <p:ph type="pic" sz="quarter" idx="32"/>
          </p:nvPr>
        </p:nvSpPr>
        <p:spPr>
          <a:xfrm>
            <a:off x="84613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27" name="Text Placeholder 4">
            <a:extLst>
              <a:ext uri="{FF2B5EF4-FFF2-40B4-BE49-F238E27FC236}">
                <a16:creationId xmlns:a16="http://schemas.microsoft.com/office/drawing/2014/main" id="{0A06A56F-E43A-8E47-894E-4A4CED51900B}"/>
              </a:ext>
            </a:extLst>
          </p:cNvPr>
          <p:cNvSpPr>
            <a:spLocks noGrp="1"/>
          </p:cNvSpPr>
          <p:nvPr>
            <p:ph type="body" sz="quarter" idx="33" hasCustomPrompt="1"/>
          </p:nvPr>
        </p:nvSpPr>
        <p:spPr>
          <a:xfrm>
            <a:off x="237911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28" name="Text Placeholder 4">
            <a:extLst>
              <a:ext uri="{FF2B5EF4-FFF2-40B4-BE49-F238E27FC236}">
                <a16:creationId xmlns:a16="http://schemas.microsoft.com/office/drawing/2014/main" id="{3273EA5D-FA5D-204D-B343-A30D7C321D28}"/>
              </a:ext>
            </a:extLst>
          </p:cNvPr>
          <p:cNvSpPr>
            <a:spLocks noGrp="1"/>
          </p:cNvSpPr>
          <p:nvPr>
            <p:ph type="body" sz="quarter" idx="34" hasCustomPrompt="1"/>
          </p:nvPr>
        </p:nvSpPr>
        <p:spPr>
          <a:xfrm>
            <a:off x="237911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29" name="Picture Placeholder 7">
            <a:extLst>
              <a:ext uri="{FF2B5EF4-FFF2-40B4-BE49-F238E27FC236}">
                <a16:creationId xmlns:a16="http://schemas.microsoft.com/office/drawing/2014/main" id="{820AB5A6-040E-7444-A303-397B423E04B0}"/>
              </a:ext>
            </a:extLst>
          </p:cNvPr>
          <p:cNvSpPr>
            <a:spLocks noGrp="1"/>
          </p:cNvSpPr>
          <p:nvPr>
            <p:ph type="pic" sz="quarter" idx="35"/>
          </p:nvPr>
        </p:nvSpPr>
        <p:spPr>
          <a:xfrm>
            <a:off x="276170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0" name="Text Placeholder 4">
            <a:extLst>
              <a:ext uri="{FF2B5EF4-FFF2-40B4-BE49-F238E27FC236}">
                <a16:creationId xmlns:a16="http://schemas.microsoft.com/office/drawing/2014/main" id="{511F3BD3-8995-1046-8A62-EA88A88290BA}"/>
              </a:ext>
            </a:extLst>
          </p:cNvPr>
          <p:cNvSpPr>
            <a:spLocks noGrp="1"/>
          </p:cNvSpPr>
          <p:nvPr>
            <p:ph type="body" sz="quarter" idx="36" hasCustomPrompt="1"/>
          </p:nvPr>
        </p:nvSpPr>
        <p:spPr>
          <a:xfrm>
            <a:off x="4308035"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1" name="Text Placeholder 4">
            <a:extLst>
              <a:ext uri="{FF2B5EF4-FFF2-40B4-BE49-F238E27FC236}">
                <a16:creationId xmlns:a16="http://schemas.microsoft.com/office/drawing/2014/main" id="{D9600E0F-D874-F846-849D-FD682311EC4A}"/>
              </a:ext>
            </a:extLst>
          </p:cNvPr>
          <p:cNvSpPr>
            <a:spLocks noGrp="1"/>
          </p:cNvSpPr>
          <p:nvPr>
            <p:ph type="body" sz="quarter" idx="37" hasCustomPrompt="1"/>
          </p:nvPr>
        </p:nvSpPr>
        <p:spPr>
          <a:xfrm>
            <a:off x="4308035"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2" name="Picture Placeholder 7">
            <a:extLst>
              <a:ext uri="{FF2B5EF4-FFF2-40B4-BE49-F238E27FC236}">
                <a16:creationId xmlns:a16="http://schemas.microsoft.com/office/drawing/2014/main" id="{C76A1F97-0A75-BD4D-BA6D-656B14A955D1}"/>
              </a:ext>
            </a:extLst>
          </p:cNvPr>
          <p:cNvSpPr>
            <a:spLocks noGrp="1"/>
          </p:cNvSpPr>
          <p:nvPr>
            <p:ph type="pic" sz="quarter" idx="38"/>
          </p:nvPr>
        </p:nvSpPr>
        <p:spPr>
          <a:xfrm>
            <a:off x="4690622"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3" name="Text Placeholder 4">
            <a:extLst>
              <a:ext uri="{FF2B5EF4-FFF2-40B4-BE49-F238E27FC236}">
                <a16:creationId xmlns:a16="http://schemas.microsoft.com/office/drawing/2014/main" id="{CD916EA2-8B5B-7749-9833-BD3AAEB0BA64}"/>
              </a:ext>
            </a:extLst>
          </p:cNvPr>
          <p:cNvSpPr>
            <a:spLocks noGrp="1"/>
          </p:cNvSpPr>
          <p:nvPr>
            <p:ph type="body" sz="quarter" idx="39" hasCustomPrompt="1"/>
          </p:nvPr>
        </p:nvSpPr>
        <p:spPr>
          <a:xfrm>
            <a:off x="621692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4" name="Text Placeholder 4">
            <a:extLst>
              <a:ext uri="{FF2B5EF4-FFF2-40B4-BE49-F238E27FC236}">
                <a16:creationId xmlns:a16="http://schemas.microsoft.com/office/drawing/2014/main" id="{2B761728-8BB5-7C4B-A669-4B3DA236D655}"/>
              </a:ext>
            </a:extLst>
          </p:cNvPr>
          <p:cNvSpPr>
            <a:spLocks noGrp="1"/>
          </p:cNvSpPr>
          <p:nvPr>
            <p:ph type="body" sz="quarter" idx="40" hasCustomPrompt="1"/>
          </p:nvPr>
        </p:nvSpPr>
        <p:spPr>
          <a:xfrm>
            <a:off x="621692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5" name="Picture Placeholder 7">
            <a:extLst>
              <a:ext uri="{FF2B5EF4-FFF2-40B4-BE49-F238E27FC236}">
                <a16:creationId xmlns:a16="http://schemas.microsoft.com/office/drawing/2014/main" id="{468D7D8C-1D74-7749-ACAE-DD956F429E07}"/>
              </a:ext>
            </a:extLst>
          </p:cNvPr>
          <p:cNvSpPr>
            <a:spLocks noGrp="1"/>
          </p:cNvSpPr>
          <p:nvPr>
            <p:ph type="pic" sz="quarter" idx="41"/>
          </p:nvPr>
        </p:nvSpPr>
        <p:spPr>
          <a:xfrm>
            <a:off x="659951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6" name="Text Placeholder 4">
            <a:extLst>
              <a:ext uri="{FF2B5EF4-FFF2-40B4-BE49-F238E27FC236}">
                <a16:creationId xmlns:a16="http://schemas.microsoft.com/office/drawing/2014/main" id="{5115002D-A2C1-3D47-8436-81012F937E85}"/>
              </a:ext>
            </a:extLst>
          </p:cNvPr>
          <p:cNvSpPr>
            <a:spLocks noGrp="1"/>
          </p:cNvSpPr>
          <p:nvPr>
            <p:ph type="body" sz="quarter" idx="42" hasCustomPrompt="1"/>
          </p:nvPr>
        </p:nvSpPr>
        <p:spPr>
          <a:xfrm>
            <a:off x="8139170"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37" name="Text Placeholder 4">
            <a:extLst>
              <a:ext uri="{FF2B5EF4-FFF2-40B4-BE49-F238E27FC236}">
                <a16:creationId xmlns:a16="http://schemas.microsoft.com/office/drawing/2014/main" id="{52CA7F72-BC77-AB40-96F2-E54F449FEBA0}"/>
              </a:ext>
            </a:extLst>
          </p:cNvPr>
          <p:cNvSpPr>
            <a:spLocks noGrp="1"/>
          </p:cNvSpPr>
          <p:nvPr>
            <p:ph type="body" sz="quarter" idx="43" hasCustomPrompt="1"/>
          </p:nvPr>
        </p:nvSpPr>
        <p:spPr>
          <a:xfrm>
            <a:off x="8139170"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38" name="Picture Placeholder 7">
            <a:extLst>
              <a:ext uri="{FF2B5EF4-FFF2-40B4-BE49-F238E27FC236}">
                <a16:creationId xmlns:a16="http://schemas.microsoft.com/office/drawing/2014/main" id="{C2C35CCF-59F6-C041-BA4A-796054E77C0F}"/>
              </a:ext>
            </a:extLst>
          </p:cNvPr>
          <p:cNvSpPr>
            <a:spLocks noGrp="1"/>
          </p:cNvSpPr>
          <p:nvPr>
            <p:ph type="pic" sz="quarter" idx="44"/>
          </p:nvPr>
        </p:nvSpPr>
        <p:spPr>
          <a:xfrm>
            <a:off x="8521757"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
        <p:nvSpPr>
          <p:cNvPr id="39" name="Text Placeholder 4">
            <a:extLst>
              <a:ext uri="{FF2B5EF4-FFF2-40B4-BE49-F238E27FC236}">
                <a16:creationId xmlns:a16="http://schemas.microsoft.com/office/drawing/2014/main" id="{EE03E675-6CAE-E140-A3D4-6495DA757EAB}"/>
              </a:ext>
            </a:extLst>
          </p:cNvPr>
          <p:cNvSpPr>
            <a:spLocks noGrp="1"/>
          </p:cNvSpPr>
          <p:nvPr>
            <p:ph type="body" sz="quarter" idx="45" hasCustomPrompt="1"/>
          </p:nvPr>
        </p:nvSpPr>
        <p:spPr>
          <a:xfrm>
            <a:off x="10054738" y="4905160"/>
            <a:ext cx="1679575" cy="250626"/>
          </a:xfrm>
        </p:spPr>
        <p:txBody>
          <a:bodyPr/>
          <a:lstStyle>
            <a:lvl1pPr algn="ctr">
              <a:defRPr sz="1200">
                <a:latin typeface="+mj-lt"/>
              </a:defRPr>
            </a:lvl1pPr>
            <a:lvl2pPr>
              <a:defRPr sz="1600"/>
            </a:lvl2pPr>
            <a:lvl3pPr>
              <a:defRPr sz="1600"/>
            </a:lvl3pPr>
            <a:lvl4pPr>
              <a:defRPr sz="1600"/>
            </a:lvl4pPr>
            <a:lvl5pPr>
              <a:defRPr sz="1600"/>
            </a:lvl5pPr>
          </a:lstStyle>
          <a:p>
            <a:pPr lvl="0"/>
            <a:r>
              <a:rPr lang="en-US" dirty="0"/>
              <a:t>Insert name</a:t>
            </a:r>
          </a:p>
        </p:txBody>
      </p:sp>
      <p:sp>
        <p:nvSpPr>
          <p:cNvPr id="40" name="Text Placeholder 4">
            <a:extLst>
              <a:ext uri="{FF2B5EF4-FFF2-40B4-BE49-F238E27FC236}">
                <a16:creationId xmlns:a16="http://schemas.microsoft.com/office/drawing/2014/main" id="{8B051DED-7DBA-954E-84D8-696F32F899B8}"/>
              </a:ext>
            </a:extLst>
          </p:cNvPr>
          <p:cNvSpPr>
            <a:spLocks noGrp="1"/>
          </p:cNvSpPr>
          <p:nvPr>
            <p:ph type="body" sz="quarter" idx="46" hasCustomPrompt="1"/>
          </p:nvPr>
        </p:nvSpPr>
        <p:spPr>
          <a:xfrm>
            <a:off x="10054738" y="5155786"/>
            <a:ext cx="1679575" cy="428914"/>
          </a:xfrm>
        </p:spPr>
        <p:txBody>
          <a:bodyPr/>
          <a:lstStyle>
            <a:lvl1pPr algn="ctr">
              <a:defRPr sz="1100"/>
            </a:lvl1pPr>
            <a:lvl2pPr>
              <a:defRPr sz="1600"/>
            </a:lvl2pPr>
            <a:lvl3pPr>
              <a:defRPr sz="1600"/>
            </a:lvl3pPr>
            <a:lvl4pPr>
              <a:defRPr sz="1600"/>
            </a:lvl4pPr>
            <a:lvl5pPr>
              <a:defRPr sz="1600"/>
            </a:lvl5pPr>
          </a:lstStyle>
          <a:p>
            <a:pPr lvl="0"/>
            <a:r>
              <a:rPr lang="en-US" dirty="0"/>
              <a:t>Insert title</a:t>
            </a:r>
          </a:p>
        </p:txBody>
      </p:sp>
      <p:sp>
        <p:nvSpPr>
          <p:cNvPr id="41" name="Picture Placeholder 7">
            <a:extLst>
              <a:ext uri="{FF2B5EF4-FFF2-40B4-BE49-F238E27FC236}">
                <a16:creationId xmlns:a16="http://schemas.microsoft.com/office/drawing/2014/main" id="{CFF36F95-2DB5-7F47-A3F3-20BF39ADC5A8}"/>
              </a:ext>
            </a:extLst>
          </p:cNvPr>
          <p:cNvSpPr>
            <a:spLocks noGrp="1"/>
          </p:cNvSpPr>
          <p:nvPr>
            <p:ph type="pic" sz="quarter" idx="47"/>
          </p:nvPr>
        </p:nvSpPr>
        <p:spPr>
          <a:xfrm>
            <a:off x="10437325" y="3870200"/>
            <a:ext cx="914400" cy="914400"/>
          </a:xfrm>
          <a:prstGeom prst="ellipse">
            <a:avLst/>
          </a:prstGeom>
          <a:solidFill>
            <a:schemeClr val="bg1">
              <a:lumMod val="95000"/>
            </a:schemeClr>
          </a:solidFill>
        </p:spPr>
        <p:txBody>
          <a:bodyPr/>
          <a:lstStyle>
            <a:lvl1pPr algn="ctr">
              <a:defRPr sz="1000"/>
            </a:lvl1pPr>
          </a:lstStyle>
          <a:p>
            <a:r>
              <a:rPr lang="en-US"/>
              <a:t>Click icon to add picture</a:t>
            </a:r>
            <a:endParaRPr lang="en-US" dirty="0"/>
          </a:p>
        </p:txBody>
      </p:sp>
    </p:spTree>
    <p:extLst>
      <p:ext uri="{BB962C8B-B14F-4D97-AF65-F5344CB8AC3E}">
        <p14:creationId xmlns:p14="http://schemas.microsoft.com/office/powerpoint/2010/main" val="6525380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3718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rgbClr val="5009B5"/>
                </a:solidFill>
                <a:latin typeface="+mj-lt"/>
              </a:defRPr>
            </a:lvl1pPr>
          </a:lstStyle>
          <a:p>
            <a:pPr lvl="0"/>
            <a:r>
              <a:rPr lang="en-US" dirty="0"/>
              <a:t>Thank you!</a:t>
            </a:r>
          </a:p>
        </p:txBody>
      </p:sp>
    </p:spTree>
    <p:extLst>
      <p:ext uri="{BB962C8B-B14F-4D97-AF65-F5344CB8AC3E}">
        <p14:creationId xmlns:p14="http://schemas.microsoft.com/office/powerpoint/2010/main" val="10749313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Purple">
    <p:bg>
      <p:bgPr>
        <a:solidFill>
          <a:srgbClr val="5009B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DB34A6-9C97-D944-BC35-27B2143CB8E0}"/>
              </a:ext>
            </a:extLst>
          </p:cNvPr>
          <p:cNvGraphicFramePr>
            <a:graphicFrameLocks noChangeAspect="1"/>
          </p:cNvGraphicFramePr>
          <p:nvPr>
            <p:custDataLst>
              <p:tags r:id="rId1"/>
            </p:custDataLst>
            <p:extLst>
              <p:ext uri="{D42A27DB-BD31-4B8C-83A1-F6EECF244321}">
                <p14:modId xmlns:p14="http://schemas.microsoft.com/office/powerpoint/2010/main" val="23738677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CDB34A6-9C97-D944-BC35-27B2143CB8E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9401D61D-0752-DE49-BDB6-75A071DE2EC9}"/>
              </a:ext>
            </a:extLst>
          </p:cNvPr>
          <p:cNvSpPr>
            <a:spLocks noGrp="1"/>
          </p:cNvSpPr>
          <p:nvPr>
            <p:ph type="body" sz="quarter" idx="12" hasCustomPrompt="1"/>
          </p:nvPr>
        </p:nvSpPr>
        <p:spPr>
          <a:xfrm>
            <a:off x="457200" y="2069432"/>
            <a:ext cx="8307388" cy="2791326"/>
          </a:xfrm>
        </p:spPr>
        <p:txBody>
          <a:bodyPr/>
          <a:lstStyle>
            <a:lvl1pPr marL="0" indent="0">
              <a:lnSpc>
                <a:spcPct val="100000"/>
              </a:lnSpc>
              <a:buNone/>
              <a:defRPr sz="8000">
                <a:solidFill>
                  <a:schemeClr val="bg1"/>
                </a:solidFill>
                <a:latin typeface="+mj-lt"/>
              </a:defRPr>
            </a:lvl1pPr>
          </a:lstStyle>
          <a:p>
            <a:pPr lvl="0"/>
            <a:r>
              <a:rPr lang="en-US" dirty="0"/>
              <a:t>Thank you!</a:t>
            </a:r>
          </a:p>
        </p:txBody>
      </p:sp>
      <p:pic>
        <p:nvPicPr>
          <p:cNvPr id="9" name="Graphic 8">
            <a:extLst>
              <a:ext uri="{FF2B5EF4-FFF2-40B4-BE49-F238E27FC236}">
                <a16:creationId xmlns:a16="http://schemas.microsoft.com/office/drawing/2014/main" id="{A2275E4F-1DD8-BD4C-839F-E0B290CCE1F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7199" y="6181343"/>
            <a:ext cx="365760" cy="365760"/>
          </a:xfrm>
          <a:prstGeom prst="rect">
            <a:avLst/>
          </a:prstGeom>
        </p:spPr>
      </p:pic>
      <p:sp>
        <p:nvSpPr>
          <p:cNvPr id="11" name="TextBox 10">
            <a:extLst>
              <a:ext uri="{FF2B5EF4-FFF2-40B4-BE49-F238E27FC236}">
                <a16:creationId xmlns:a16="http://schemas.microsoft.com/office/drawing/2014/main" id="{9FA824AD-9AF3-884E-A622-DF0B54F24716}"/>
              </a:ext>
            </a:extLst>
          </p:cNvPr>
          <p:cNvSpPr txBox="1"/>
          <p:nvPr userDrawn="1"/>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bg1"/>
                </a:solidFill>
              </a:rPr>
              <a:pPr algn="r"/>
              <a:t>‹#›</a:t>
            </a:fld>
            <a:endParaRPr lang="en-US" sz="900" dirty="0">
              <a:solidFill>
                <a:schemeClr val="bg1"/>
              </a:solidFill>
            </a:endParaRPr>
          </a:p>
        </p:txBody>
      </p:sp>
    </p:spTree>
    <p:extLst>
      <p:ext uri="{BB962C8B-B14F-4D97-AF65-F5344CB8AC3E}">
        <p14:creationId xmlns:p14="http://schemas.microsoft.com/office/powerpoint/2010/main" val="1987127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urple Linear Supergraphic">
    <p:bg>
      <p:bgPr>
        <a:solidFill>
          <a:srgbClr val="5009B5"/>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424081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Arc 6">
            <a:extLst>
              <a:ext uri="{FF2B5EF4-FFF2-40B4-BE49-F238E27FC236}">
                <a16:creationId xmlns:a16="http://schemas.microsoft.com/office/drawing/2014/main" id="{620EC642-4CC9-DC4D-BE90-46572834EF99}"/>
              </a:ext>
            </a:extLst>
          </p:cNvPr>
          <p:cNvSpPr/>
          <p:nvPr/>
        </p:nvSpPr>
        <p:spPr>
          <a:xfrm rot="10800000">
            <a:off x="7700406" y="-5517141"/>
            <a:ext cx="8983187" cy="8983187"/>
          </a:xfrm>
          <a:prstGeom prst="arc">
            <a:avLst>
              <a:gd name="adj1" fmla="val 16200000"/>
              <a:gd name="adj2" fmla="val 20840015"/>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cxnSp>
        <p:nvCxnSpPr>
          <p:cNvPr id="8" name="Straight Connector 7">
            <a:extLst>
              <a:ext uri="{FF2B5EF4-FFF2-40B4-BE49-F238E27FC236}">
                <a16:creationId xmlns:a16="http://schemas.microsoft.com/office/drawing/2014/main" id="{FA9F3445-6864-B14F-A29E-23391F292240}"/>
              </a:ext>
            </a:extLst>
          </p:cNvPr>
          <p:cNvCxnSpPr>
            <a:cxnSpLocks/>
          </p:cNvCxnSpPr>
          <p:nvPr/>
        </p:nvCxnSpPr>
        <p:spPr>
          <a:xfrm>
            <a:off x="0" y="3466047"/>
            <a:ext cx="12192000" cy="0"/>
          </a:xfrm>
          <a:prstGeom prst="line">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cxnSp>
      <p:sp>
        <p:nvSpPr>
          <p:cNvPr id="10" name="Arc 9">
            <a:extLst>
              <a:ext uri="{FF2B5EF4-FFF2-40B4-BE49-F238E27FC236}">
                <a16:creationId xmlns:a16="http://schemas.microsoft.com/office/drawing/2014/main" id="{0635C588-6C55-2E43-BC88-265490E0DB15}"/>
              </a:ext>
            </a:extLst>
          </p:cNvPr>
          <p:cNvSpPr/>
          <p:nvPr/>
        </p:nvSpPr>
        <p:spPr>
          <a:xfrm rot="16200000">
            <a:off x="7700406" y="3466048"/>
            <a:ext cx="8983187" cy="8983187"/>
          </a:xfrm>
          <a:prstGeom prst="arc">
            <a:avLst>
              <a:gd name="adj1" fmla="val 17017882"/>
              <a:gd name="adj2" fmla="val 0"/>
            </a:avLst>
          </a:prstGeom>
          <a:noFill/>
          <a:ln w="19050">
            <a:gradFill flip="none" rotWithShape="1">
              <a:gsLst>
                <a:gs pos="50000">
                  <a:srgbClr val="794CFF"/>
                </a:gs>
                <a:gs pos="100000">
                  <a:srgbClr val="00BBBA"/>
                </a:gs>
                <a:gs pos="0">
                  <a:srgbClr val="44B8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lt1"/>
              </a:solidFill>
            </a:endParaRPr>
          </a:p>
        </p:txBody>
      </p:sp>
      <p:pic>
        <p:nvPicPr>
          <p:cNvPr id="15" name="Graphic 14">
            <a:extLst>
              <a:ext uri="{FF2B5EF4-FFF2-40B4-BE49-F238E27FC236}">
                <a16:creationId xmlns:a16="http://schemas.microsoft.com/office/drawing/2014/main" id="{38087043-B1C0-F448-917B-5850AF56263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5088" y="578424"/>
            <a:ext cx="1785575" cy="384339"/>
          </a:xfrm>
          <a:prstGeom prst="rect">
            <a:avLst/>
          </a:prstGeom>
        </p:spPr>
      </p:pic>
      <p:sp>
        <p:nvSpPr>
          <p:cNvPr id="17" name="Title 1">
            <a:extLst>
              <a:ext uri="{FF2B5EF4-FFF2-40B4-BE49-F238E27FC236}">
                <a16:creationId xmlns:a16="http://schemas.microsoft.com/office/drawing/2014/main" id="{589C51D4-69ED-7B4E-A17D-1AE8A998B922}"/>
              </a:ext>
            </a:extLst>
          </p:cNvPr>
          <p:cNvSpPr>
            <a:spLocks noGrp="1"/>
          </p:cNvSpPr>
          <p:nvPr>
            <p:ph type="ctrTitle" hasCustomPrompt="1"/>
          </p:nvPr>
        </p:nvSpPr>
        <p:spPr>
          <a:xfrm>
            <a:off x="457198" y="3759716"/>
            <a:ext cx="9366251" cy="622714"/>
          </a:xfrm>
        </p:spPr>
        <p:txBody>
          <a:bodyPr vert="horz" anchor="t"/>
          <a:lstStyle>
            <a:lvl1pPr algn="l">
              <a:defRPr sz="5000">
                <a:solidFill>
                  <a:schemeClr val="bg1"/>
                </a:solidFill>
              </a:defRPr>
            </a:lvl1pPr>
          </a:lstStyle>
          <a:p>
            <a:r>
              <a:rPr lang="en-US" dirty="0"/>
              <a:t>Click to add presentation title</a:t>
            </a:r>
          </a:p>
        </p:txBody>
      </p:sp>
      <p:sp>
        <p:nvSpPr>
          <p:cNvPr id="18" name="Subtitle 2">
            <a:extLst>
              <a:ext uri="{FF2B5EF4-FFF2-40B4-BE49-F238E27FC236}">
                <a16:creationId xmlns:a16="http://schemas.microsoft.com/office/drawing/2014/main" id="{302C2242-2804-EE44-ADAF-48FD023883FC}"/>
              </a:ext>
            </a:extLst>
          </p:cNvPr>
          <p:cNvSpPr>
            <a:spLocks noGrp="1"/>
          </p:cNvSpPr>
          <p:nvPr>
            <p:ph type="subTitle" idx="1" hasCustomPrompt="1"/>
          </p:nvPr>
        </p:nvSpPr>
        <p:spPr>
          <a:xfrm>
            <a:off x="457198" y="5382895"/>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9" name="Text Placeholder 11">
            <a:extLst>
              <a:ext uri="{FF2B5EF4-FFF2-40B4-BE49-F238E27FC236}">
                <a16:creationId xmlns:a16="http://schemas.microsoft.com/office/drawing/2014/main" id="{2B2F6DB0-6DE3-A540-B328-7DCA1A7E7232}"/>
              </a:ext>
            </a:extLst>
          </p:cNvPr>
          <p:cNvSpPr>
            <a:spLocks noGrp="1"/>
          </p:cNvSpPr>
          <p:nvPr>
            <p:ph type="body" sz="quarter" idx="11" hasCustomPrompt="1"/>
          </p:nvPr>
        </p:nvSpPr>
        <p:spPr>
          <a:xfrm>
            <a:off x="457198" y="5611495"/>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dirty="0"/>
              <a:t>Click to add date</a:t>
            </a:r>
          </a:p>
        </p:txBody>
      </p:sp>
      <p:pic>
        <p:nvPicPr>
          <p:cNvPr id="4" name="Graphic 3">
            <a:extLst>
              <a:ext uri="{FF2B5EF4-FFF2-40B4-BE49-F238E27FC236}">
                <a16:creationId xmlns:a16="http://schemas.microsoft.com/office/drawing/2014/main" id="{94334622-A469-EA5C-00E1-97753601B4A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996061" y="578755"/>
            <a:ext cx="1786364" cy="463576"/>
          </a:xfrm>
          <a:prstGeom prst="rect">
            <a:avLst/>
          </a:prstGeom>
        </p:spPr>
      </p:pic>
    </p:spTree>
    <p:extLst>
      <p:ext uri="{BB962C8B-B14F-4D97-AF65-F5344CB8AC3E}">
        <p14:creationId xmlns:p14="http://schemas.microsoft.com/office/powerpoint/2010/main" val="609633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291589-CD70-D544-A42B-7CBFCA4D12B5}"/>
              </a:ext>
            </a:extLst>
          </p:cNvPr>
          <p:cNvGraphicFramePr>
            <a:graphicFrameLocks noChangeAspect="1"/>
          </p:cNvGraphicFramePr>
          <p:nvPr>
            <p:custDataLst>
              <p:tags r:id="rId1"/>
            </p:custDataLst>
            <p:extLst>
              <p:ext uri="{D42A27DB-BD31-4B8C-83A1-F6EECF244321}">
                <p14:modId xmlns:p14="http://schemas.microsoft.com/office/powerpoint/2010/main" val="14695310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84291589-CD70-D544-A42B-7CBFCA4D12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9B01FEFA-64F9-B5E6-D11D-4882880D2CF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58626" y="3162659"/>
            <a:ext cx="2479112" cy="643350"/>
          </a:xfrm>
          <a:prstGeom prst="rect">
            <a:avLst/>
          </a:prstGeom>
        </p:spPr>
      </p:pic>
    </p:spTree>
    <p:extLst>
      <p:ext uri="{BB962C8B-B14F-4D97-AF65-F5344CB8AC3E}">
        <p14:creationId xmlns:p14="http://schemas.microsoft.com/office/powerpoint/2010/main" val="35232315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 Column Text + Blank">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D41C7282-3E5D-E245-98BA-F00051A8A5CC}"/>
              </a:ext>
            </a:extLst>
          </p:cNvPr>
          <p:cNvSpPr>
            <a:spLocks noGrp="1"/>
          </p:cNvSpPr>
          <p:nvPr>
            <p:ph type="title"/>
          </p:nvPr>
        </p:nvSpPr>
        <p:spPr>
          <a:xfrm>
            <a:off x="640080" y="640080"/>
            <a:ext cx="10908792" cy="548640"/>
          </a:xfrm>
          <a:prstGeom prst="rect">
            <a:avLst/>
          </a:prstGeom>
        </p:spPr>
        <p:txBody>
          <a:bodyPr vert="horz" lIns="0" tIns="0" rIns="0" bIns="0" rtlCol="0" anchor="t" anchorCtr="0">
            <a:normAutofit/>
          </a:bodyPr>
          <a:lstStyle>
            <a:lvl1pPr>
              <a:lnSpc>
                <a:spcPct val="114000"/>
              </a:lnSpc>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03F2C30-D4C2-8C47-AE40-D10806BB415E}"/>
              </a:ext>
            </a:extLst>
          </p:cNvPr>
          <p:cNvSpPr>
            <a:spLocks noGrp="1"/>
          </p:cNvSpPr>
          <p:nvPr>
            <p:ph type="body" sz="quarter" idx="10"/>
          </p:nvPr>
        </p:nvSpPr>
        <p:spPr>
          <a:xfrm>
            <a:off x="640080" y="1828800"/>
            <a:ext cx="5486400" cy="3657600"/>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591127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148F597-C33C-404C-988B-99BEC9C50F7D}" type="datetimeFigureOut">
              <a:rPr lang="en-US" smtClean="0"/>
              <a:t>5/2/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46249D-581C-4C8F-83DD-B87371934A8D}" type="slidenum">
              <a:rPr lang="en-US" smtClean="0"/>
              <a:t>‹#›</a:t>
            </a:fld>
            <a:endParaRPr lang="en-US" dirty="0"/>
          </a:p>
        </p:txBody>
      </p:sp>
    </p:spTree>
    <p:extLst>
      <p:ext uri="{BB962C8B-B14F-4D97-AF65-F5344CB8AC3E}">
        <p14:creationId xmlns:p14="http://schemas.microsoft.com/office/powerpoint/2010/main" val="12848340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BFD03251-64CE-1B48-87E3-6AED9F0C6FC0}"/>
              </a:ext>
            </a:extLst>
          </p:cNvPr>
          <p:cNvSpPr>
            <a:spLocks noGrp="1"/>
          </p:cNvSpPr>
          <p:nvPr>
            <p:ph type="title"/>
          </p:nvPr>
        </p:nvSpPr>
        <p:spPr>
          <a:xfrm>
            <a:off x="640080" y="640080"/>
            <a:ext cx="10908792" cy="548640"/>
          </a:xfrm>
          <a:prstGeom prst="rect">
            <a:avLst/>
          </a:prstGeom>
        </p:spPr>
        <p:txBody>
          <a:bodyPr vert="horz" lIns="0" tIns="0" rIns="0" bIns="0" rtlCol="0" anchor="t" anchorCtr="0">
            <a:normAutofit/>
          </a:bodyPr>
          <a:lstStyle>
            <a:lvl1pPr>
              <a:lnSpc>
                <a:spcPct val="114000"/>
              </a:lnSpc>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FBC8E54-6EA9-3342-9294-07817A0CBFC8}"/>
              </a:ext>
            </a:extLst>
          </p:cNvPr>
          <p:cNvSpPr>
            <a:spLocks noGrp="1"/>
          </p:cNvSpPr>
          <p:nvPr>
            <p:ph type="body" sz="quarter" idx="11"/>
          </p:nvPr>
        </p:nvSpPr>
        <p:spPr>
          <a:xfrm>
            <a:off x="640079" y="1828800"/>
            <a:ext cx="5029200" cy="3661102"/>
          </a:xfrm>
        </p:spPr>
        <p:txBody>
          <a:bodyPr/>
          <a:lstStyle/>
          <a:p>
            <a:pPr lvl="0"/>
            <a:r>
              <a:rPr lang="en-US"/>
              <a:t>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C7164372-2E35-CA4C-947C-1B337BE155D1}"/>
              </a:ext>
            </a:extLst>
          </p:cNvPr>
          <p:cNvSpPr>
            <a:spLocks noGrp="1"/>
          </p:cNvSpPr>
          <p:nvPr>
            <p:ph type="body" sz="quarter" idx="12"/>
          </p:nvPr>
        </p:nvSpPr>
        <p:spPr>
          <a:xfrm>
            <a:off x="6519672" y="1828800"/>
            <a:ext cx="5029200" cy="3661102"/>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514188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prstGeom prst="rect">
            <a:avLst/>
          </a:prstGeo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11" name="Text Placeholder 10">
            <a:extLst>
              <a:ext uri="{FF2B5EF4-FFF2-40B4-BE49-F238E27FC236}">
                <a16:creationId xmlns:a16="http://schemas.microsoft.com/office/drawing/2014/main" id="{A594C2A4-538B-4E49-80F8-EE4DD8A3842A}"/>
              </a:ext>
            </a:extLst>
          </p:cNvPr>
          <p:cNvSpPr>
            <a:spLocks noGrp="1"/>
          </p:cNvSpPr>
          <p:nvPr>
            <p:ph type="body" sz="quarter" idx="13"/>
          </p:nvPr>
        </p:nvSpPr>
        <p:spPr>
          <a:xfrm>
            <a:off x="0" y="0"/>
            <a:ext cx="12192000" cy="6858000"/>
          </a:xfrm>
          <a:gradFill>
            <a:gsLst>
              <a:gs pos="0">
                <a:srgbClr val="000000">
                  <a:alpha val="34000"/>
                </a:srgbClr>
              </a:gs>
              <a:gs pos="100000">
                <a:srgbClr val="000000">
                  <a:alpha val="34742"/>
                </a:srgbClr>
              </a:gs>
            </a:gsLst>
            <a:lin ang="0" scaled="0"/>
          </a:gradFill>
        </p:spPr>
        <p:txBody>
          <a:bodyPr vert="horz" lIns="0" tIns="0" rIns="0" bIns="0" rtlCol="0">
            <a:noAutofit/>
          </a:bodyPr>
          <a:lstStyle>
            <a:lvl1pPr>
              <a:defRPr lang="en-US" sz="100">
                <a:solidFill>
                  <a:schemeClr val="bg1">
                    <a:alpha val="0"/>
                  </a:schemeClr>
                </a:solidFill>
              </a:defRPr>
            </a:lvl1pPr>
          </a:lstStyle>
          <a:p>
            <a:pPr lvl="0"/>
            <a:r>
              <a:rPr lang="en-US"/>
              <a:t>Click to edit Master text styles</a:t>
            </a:r>
          </a:p>
        </p:txBody>
      </p:sp>
      <p:sp>
        <p:nvSpPr>
          <p:cNvPr id="3" name="Subtitle 2">
            <a:extLst>
              <a:ext uri="{FF2B5EF4-FFF2-40B4-BE49-F238E27FC236}">
                <a16:creationId xmlns:a16="http://schemas.microsoft.com/office/drawing/2014/main" id="{E4F9BAEB-A94F-439F-B9CE-0030334E19DE}"/>
              </a:ext>
            </a:extLst>
          </p:cNvPr>
          <p:cNvSpPr>
            <a:spLocks noGrp="1"/>
          </p:cNvSpPr>
          <p:nvPr>
            <p:ph type="subTitle" idx="1" hasCustomPrompt="1"/>
          </p:nvPr>
        </p:nvSpPr>
        <p:spPr>
          <a:xfrm>
            <a:off x="410307" y="4517136"/>
            <a:ext cx="5650832" cy="228600"/>
          </a:xfrm>
          <a:prstGeom prst="rect">
            <a:avLst/>
          </a:prstGeo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0307" y="4758997"/>
            <a:ext cx="5638800" cy="224536"/>
          </a:xfrm>
          <a:prstGeom prst="rect">
            <a:avLst/>
          </a:prstGeom>
        </p:spPr>
        <p:txBody>
          <a:bodyPr/>
          <a:lstStyle>
            <a:lvl1pPr marL="0" indent="0">
              <a:lnSpc>
                <a:spcPct val="100000"/>
              </a:lnSpc>
              <a:buNone/>
              <a:defRPr sz="1800" b="0" i="0">
                <a:solidFill>
                  <a:schemeClr val="bg1"/>
                </a:solidFill>
                <a:latin typeface="Elevance Sans" pitchFamily="2" charset="77"/>
              </a:defRPr>
            </a:lvl1pPr>
          </a:lstStyle>
          <a:p>
            <a:pPr lvl="0"/>
            <a:r>
              <a:rPr lang="en-US" dirty="0"/>
              <a:t>Click to add date</a:t>
            </a:r>
          </a:p>
        </p:txBody>
      </p:sp>
      <p:sp>
        <p:nvSpPr>
          <p:cNvPr id="10" name="Title 1">
            <a:extLst>
              <a:ext uri="{FF2B5EF4-FFF2-40B4-BE49-F238E27FC236}">
                <a16:creationId xmlns:a16="http://schemas.microsoft.com/office/drawing/2014/main" id="{5CEDBC19-C442-234E-A082-5522435460F1}"/>
              </a:ext>
            </a:extLst>
          </p:cNvPr>
          <p:cNvSpPr>
            <a:spLocks noGrp="1"/>
          </p:cNvSpPr>
          <p:nvPr>
            <p:ph type="ctrTitle" hasCustomPrompt="1"/>
          </p:nvPr>
        </p:nvSpPr>
        <p:spPr>
          <a:xfrm>
            <a:off x="410307" y="2587226"/>
            <a:ext cx="8354282" cy="1572610"/>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78" name="Text Placeholder 77">
            <a:extLst>
              <a:ext uri="{FF2B5EF4-FFF2-40B4-BE49-F238E27FC236}">
                <a16:creationId xmlns:a16="http://schemas.microsoft.com/office/drawing/2014/main" id="{40DAE6FE-4453-6A49-BCBC-8EA029D4F6D3}"/>
              </a:ext>
            </a:extLst>
          </p:cNvPr>
          <p:cNvSpPr>
            <a:spLocks noGrp="1"/>
          </p:cNvSpPr>
          <p:nvPr>
            <p:ph type="body" sz="quarter" idx="14"/>
          </p:nvPr>
        </p:nvSpPr>
        <p:spPr>
          <a:xfrm>
            <a:off x="9996061" y="578755"/>
            <a:ext cx="1785077" cy="463366"/>
          </a:xfrm>
          <a:custGeom>
            <a:avLst/>
            <a:gdLst>
              <a:gd name="connsiteX0" fmla="*/ 609398 w 1785077"/>
              <a:gd name="connsiteY0" fmla="*/ 422691 h 463366"/>
              <a:gd name="connsiteX1" fmla="*/ 609398 w 1785077"/>
              <a:gd name="connsiteY1" fmla="*/ 445690 h 463366"/>
              <a:gd name="connsiteX2" fmla="*/ 628578 w 1785077"/>
              <a:gd name="connsiteY2" fmla="*/ 445690 h 463366"/>
              <a:gd name="connsiteX3" fmla="*/ 628578 w 1785077"/>
              <a:gd name="connsiteY3" fmla="*/ 445720 h 463366"/>
              <a:gd name="connsiteX4" fmla="*/ 642372 w 1785077"/>
              <a:gd name="connsiteY4" fmla="*/ 434206 h 463366"/>
              <a:gd name="connsiteX5" fmla="*/ 628578 w 1785077"/>
              <a:gd name="connsiteY5" fmla="*/ 422691 h 463366"/>
              <a:gd name="connsiteX6" fmla="*/ 1511976 w 1785077"/>
              <a:gd name="connsiteY6" fmla="*/ 407797 h 463366"/>
              <a:gd name="connsiteX7" fmla="*/ 1493932 w 1785077"/>
              <a:gd name="connsiteY7" fmla="*/ 427387 h 463366"/>
              <a:gd name="connsiteX8" fmla="*/ 1511976 w 1785077"/>
              <a:gd name="connsiteY8" fmla="*/ 447126 h 463366"/>
              <a:gd name="connsiteX9" fmla="*/ 1530019 w 1785077"/>
              <a:gd name="connsiteY9" fmla="*/ 427387 h 463366"/>
              <a:gd name="connsiteX10" fmla="*/ 1511976 w 1785077"/>
              <a:gd name="connsiteY10" fmla="*/ 407797 h 463366"/>
              <a:gd name="connsiteX11" fmla="*/ 1181094 w 1785077"/>
              <a:gd name="connsiteY11" fmla="*/ 407797 h 463366"/>
              <a:gd name="connsiteX12" fmla="*/ 1163051 w 1785077"/>
              <a:gd name="connsiteY12" fmla="*/ 427387 h 463366"/>
              <a:gd name="connsiteX13" fmla="*/ 1181094 w 1785077"/>
              <a:gd name="connsiteY13" fmla="*/ 447126 h 463366"/>
              <a:gd name="connsiteX14" fmla="*/ 1199137 w 1785077"/>
              <a:gd name="connsiteY14" fmla="*/ 427387 h 463366"/>
              <a:gd name="connsiteX15" fmla="*/ 1181094 w 1785077"/>
              <a:gd name="connsiteY15" fmla="*/ 407797 h 463366"/>
              <a:gd name="connsiteX16" fmla="*/ 1051680 w 1785077"/>
              <a:gd name="connsiteY16" fmla="*/ 407797 h 463366"/>
              <a:gd name="connsiteX17" fmla="*/ 1033637 w 1785077"/>
              <a:gd name="connsiteY17" fmla="*/ 427387 h 463366"/>
              <a:gd name="connsiteX18" fmla="*/ 1051680 w 1785077"/>
              <a:gd name="connsiteY18" fmla="*/ 447126 h 463366"/>
              <a:gd name="connsiteX19" fmla="*/ 1069723 w 1785077"/>
              <a:gd name="connsiteY19" fmla="*/ 427387 h 463366"/>
              <a:gd name="connsiteX20" fmla="*/ 1051680 w 1785077"/>
              <a:gd name="connsiteY20" fmla="*/ 407797 h 463366"/>
              <a:gd name="connsiteX21" fmla="*/ 859459 w 1785077"/>
              <a:gd name="connsiteY21" fmla="*/ 407797 h 463366"/>
              <a:gd name="connsiteX22" fmla="*/ 841416 w 1785077"/>
              <a:gd name="connsiteY22" fmla="*/ 427387 h 463366"/>
              <a:gd name="connsiteX23" fmla="*/ 859459 w 1785077"/>
              <a:gd name="connsiteY23" fmla="*/ 447126 h 463366"/>
              <a:gd name="connsiteX24" fmla="*/ 877502 w 1785077"/>
              <a:gd name="connsiteY24" fmla="*/ 427387 h 463366"/>
              <a:gd name="connsiteX25" fmla="*/ 859459 w 1785077"/>
              <a:gd name="connsiteY25" fmla="*/ 407797 h 463366"/>
              <a:gd name="connsiteX26" fmla="*/ 1432981 w 1785077"/>
              <a:gd name="connsiteY26" fmla="*/ 406242 h 463366"/>
              <a:gd name="connsiteX27" fmla="*/ 1416643 w 1785077"/>
              <a:gd name="connsiteY27" fmla="*/ 420149 h 463366"/>
              <a:gd name="connsiteX28" fmla="*/ 1449169 w 1785077"/>
              <a:gd name="connsiteY28" fmla="*/ 420149 h 463366"/>
              <a:gd name="connsiteX29" fmla="*/ 1432981 w 1785077"/>
              <a:gd name="connsiteY29" fmla="*/ 406242 h 463366"/>
              <a:gd name="connsiteX30" fmla="*/ 705000 w 1785077"/>
              <a:gd name="connsiteY30" fmla="*/ 406242 h 463366"/>
              <a:gd name="connsiteX31" fmla="*/ 688662 w 1785077"/>
              <a:gd name="connsiteY31" fmla="*/ 420149 h 463366"/>
              <a:gd name="connsiteX32" fmla="*/ 721188 w 1785077"/>
              <a:gd name="connsiteY32" fmla="*/ 420149 h 463366"/>
              <a:gd name="connsiteX33" fmla="*/ 705000 w 1785077"/>
              <a:gd name="connsiteY33" fmla="*/ 406242 h 463366"/>
              <a:gd name="connsiteX34" fmla="*/ 986749 w 1785077"/>
              <a:gd name="connsiteY34" fmla="*/ 393441 h 463366"/>
              <a:gd name="connsiteX35" fmla="*/ 1004074 w 1785077"/>
              <a:gd name="connsiteY35" fmla="*/ 393441 h 463366"/>
              <a:gd name="connsiteX36" fmla="*/ 1004074 w 1785077"/>
              <a:gd name="connsiteY36" fmla="*/ 434654 h 463366"/>
              <a:gd name="connsiteX37" fmla="*/ 1004074 w 1785077"/>
              <a:gd name="connsiteY37" fmla="*/ 461482 h 463366"/>
              <a:gd name="connsiteX38" fmla="*/ 986749 w 1785077"/>
              <a:gd name="connsiteY38" fmla="*/ 461482 h 463366"/>
              <a:gd name="connsiteX39" fmla="*/ 904881 w 1785077"/>
              <a:gd name="connsiteY39" fmla="*/ 393441 h 463366"/>
              <a:gd name="connsiteX40" fmla="*/ 923912 w 1785077"/>
              <a:gd name="connsiteY40" fmla="*/ 393441 h 463366"/>
              <a:gd name="connsiteX41" fmla="*/ 941237 w 1785077"/>
              <a:gd name="connsiteY41" fmla="*/ 445989 h 463366"/>
              <a:gd name="connsiteX42" fmla="*/ 958861 w 1785077"/>
              <a:gd name="connsiteY42" fmla="*/ 393441 h 463366"/>
              <a:gd name="connsiteX43" fmla="*/ 976635 w 1785077"/>
              <a:gd name="connsiteY43" fmla="*/ 393441 h 463366"/>
              <a:gd name="connsiteX44" fmla="*/ 952069 w 1785077"/>
              <a:gd name="connsiteY44" fmla="*/ 461482 h 463366"/>
              <a:gd name="connsiteX45" fmla="*/ 929477 w 1785077"/>
              <a:gd name="connsiteY45" fmla="*/ 461482 h 463366"/>
              <a:gd name="connsiteX46" fmla="*/ 1509133 w 1785077"/>
              <a:gd name="connsiteY46" fmla="*/ 391646 h 463366"/>
              <a:gd name="connsiteX47" fmla="*/ 1530019 w 1785077"/>
              <a:gd name="connsiteY47" fmla="*/ 402443 h 463366"/>
              <a:gd name="connsiteX48" fmla="*/ 1530019 w 1785077"/>
              <a:gd name="connsiteY48" fmla="*/ 393471 h 463366"/>
              <a:gd name="connsiteX49" fmla="*/ 1547344 w 1785077"/>
              <a:gd name="connsiteY49" fmla="*/ 393471 h 463366"/>
              <a:gd name="connsiteX50" fmla="*/ 1547344 w 1785077"/>
              <a:gd name="connsiteY50" fmla="*/ 461512 h 463366"/>
              <a:gd name="connsiteX51" fmla="*/ 1530019 w 1785077"/>
              <a:gd name="connsiteY51" fmla="*/ 461512 h 463366"/>
              <a:gd name="connsiteX52" fmla="*/ 1530019 w 1785077"/>
              <a:gd name="connsiteY52" fmla="*/ 451851 h 463366"/>
              <a:gd name="connsiteX53" fmla="*/ 1509133 w 1785077"/>
              <a:gd name="connsiteY53" fmla="*/ 463366 h 463366"/>
              <a:gd name="connsiteX54" fmla="*/ 1476607 w 1785077"/>
              <a:gd name="connsiteY54" fmla="*/ 427446 h 463366"/>
              <a:gd name="connsiteX55" fmla="*/ 1509133 w 1785077"/>
              <a:gd name="connsiteY55" fmla="*/ 391646 h 463366"/>
              <a:gd name="connsiteX56" fmla="*/ 1432681 w 1785077"/>
              <a:gd name="connsiteY56" fmla="*/ 391646 h 463366"/>
              <a:gd name="connsiteX57" fmla="*/ 1467062 w 1785077"/>
              <a:gd name="connsiteY57" fmla="*/ 426160 h 463366"/>
              <a:gd name="connsiteX58" fmla="*/ 1466673 w 1785077"/>
              <a:gd name="connsiteY58" fmla="*/ 432232 h 463366"/>
              <a:gd name="connsiteX59" fmla="*/ 1416224 w 1785077"/>
              <a:gd name="connsiteY59" fmla="*/ 432232 h 463366"/>
              <a:gd name="connsiteX60" fmla="*/ 1435554 w 1785077"/>
              <a:gd name="connsiteY60" fmla="*/ 448143 h 463366"/>
              <a:gd name="connsiteX61" fmla="*/ 1452310 w 1785077"/>
              <a:gd name="connsiteY61" fmla="*/ 441055 h 463366"/>
              <a:gd name="connsiteX62" fmla="*/ 1461257 w 1785077"/>
              <a:gd name="connsiteY62" fmla="*/ 452988 h 463366"/>
              <a:gd name="connsiteX63" fmla="*/ 1434955 w 1785077"/>
              <a:gd name="connsiteY63" fmla="*/ 463366 h 463366"/>
              <a:gd name="connsiteX64" fmla="*/ 1398450 w 1785077"/>
              <a:gd name="connsiteY64" fmla="*/ 427446 h 463366"/>
              <a:gd name="connsiteX65" fmla="*/ 1432681 w 1785077"/>
              <a:gd name="connsiteY65" fmla="*/ 391646 h 463366"/>
              <a:gd name="connsiteX66" fmla="*/ 1178252 w 1785077"/>
              <a:gd name="connsiteY66" fmla="*/ 391646 h 463366"/>
              <a:gd name="connsiteX67" fmla="*/ 1199137 w 1785077"/>
              <a:gd name="connsiteY67" fmla="*/ 402443 h 463366"/>
              <a:gd name="connsiteX68" fmla="*/ 1199137 w 1785077"/>
              <a:gd name="connsiteY68" fmla="*/ 393471 h 463366"/>
              <a:gd name="connsiteX69" fmla="*/ 1216463 w 1785077"/>
              <a:gd name="connsiteY69" fmla="*/ 393471 h 463366"/>
              <a:gd name="connsiteX70" fmla="*/ 1216463 w 1785077"/>
              <a:gd name="connsiteY70" fmla="*/ 461512 h 463366"/>
              <a:gd name="connsiteX71" fmla="*/ 1199137 w 1785077"/>
              <a:gd name="connsiteY71" fmla="*/ 461512 h 463366"/>
              <a:gd name="connsiteX72" fmla="*/ 1199137 w 1785077"/>
              <a:gd name="connsiteY72" fmla="*/ 451851 h 463366"/>
              <a:gd name="connsiteX73" fmla="*/ 1178252 w 1785077"/>
              <a:gd name="connsiteY73" fmla="*/ 463366 h 463366"/>
              <a:gd name="connsiteX74" fmla="*/ 1145726 w 1785077"/>
              <a:gd name="connsiteY74" fmla="*/ 427446 h 463366"/>
              <a:gd name="connsiteX75" fmla="*/ 1178252 w 1785077"/>
              <a:gd name="connsiteY75" fmla="*/ 391646 h 463366"/>
              <a:gd name="connsiteX76" fmla="*/ 856616 w 1785077"/>
              <a:gd name="connsiteY76" fmla="*/ 391646 h 463366"/>
              <a:gd name="connsiteX77" fmla="*/ 877502 w 1785077"/>
              <a:gd name="connsiteY77" fmla="*/ 402443 h 463366"/>
              <a:gd name="connsiteX78" fmla="*/ 877502 w 1785077"/>
              <a:gd name="connsiteY78" fmla="*/ 393471 h 463366"/>
              <a:gd name="connsiteX79" fmla="*/ 894827 w 1785077"/>
              <a:gd name="connsiteY79" fmla="*/ 393471 h 463366"/>
              <a:gd name="connsiteX80" fmla="*/ 894827 w 1785077"/>
              <a:gd name="connsiteY80" fmla="*/ 461512 h 463366"/>
              <a:gd name="connsiteX81" fmla="*/ 877502 w 1785077"/>
              <a:gd name="connsiteY81" fmla="*/ 461512 h 463366"/>
              <a:gd name="connsiteX82" fmla="*/ 877502 w 1785077"/>
              <a:gd name="connsiteY82" fmla="*/ 451851 h 463366"/>
              <a:gd name="connsiteX83" fmla="*/ 856616 w 1785077"/>
              <a:gd name="connsiteY83" fmla="*/ 463366 h 463366"/>
              <a:gd name="connsiteX84" fmla="*/ 824091 w 1785077"/>
              <a:gd name="connsiteY84" fmla="*/ 427446 h 463366"/>
              <a:gd name="connsiteX85" fmla="*/ 856616 w 1785077"/>
              <a:gd name="connsiteY85" fmla="*/ 391646 h 463366"/>
              <a:gd name="connsiteX86" fmla="*/ 704701 w 1785077"/>
              <a:gd name="connsiteY86" fmla="*/ 391646 h 463366"/>
              <a:gd name="connsiteX87" fmla="*/ 739081 w 1785077"/>
              <a:gd name="connsiteY87" fmla="*/ 426160 h 463366"/>
              <a:gd name="connsiteX88" fmla="*/ 738692 w 1785077"/>
              <a:gd name="connsiteY88" fmla="*/ 432232 h 463366"/>
              <a:gd name="connsiteX89" fmla="*/ 688243 w 1785077"/>
              <a:gd name="connsiteY89" fmla="*/ 432232 h 463366"/>
              <a:gd name="connsiteX90" fmla="*/ 707573 w 1785077"/>
              <a:gd name="connsiteY90" fmla="*/ 448143 h 463366"/>
              <a:gd name="connsiteX91" fmla="*/ 724330 w 1785077"/>
              <a:gd name="connsiteY91" fmla="*/ 441055 h 463366"/>
              <a:gd name="connsiteX92" fmla="*/ 733276 w 1785077"/>
              <a:gd name="connsiteY92" fmla="*/ 452988 h 463366"/>
              <a:gd name="connsiteX93" fmla="*/ 706975 w 1785077"/>
              <a:gd name="connsiteY93" fmla="*/ 463366 h 463366"/>
              <a:gd name="connsiteX94" fmla="*/ 670469 w 1785077"/>
              <a:gd name="connsiteY94" fmla="*/ 427446 h 463366"/>
              <a:gd name="connsiteX95" fmla="*/ 704701 w 1785077"/>
              <a:gd name="connsiteY95" fmla="*/ 391646 h 463366"/>
              <a:gd name="connsiteX96" fmla="*/ 1051680 w 1785077"/>
              <a:gd name="connsiteY96" fmla="*/ 391616 h 463366"/>
              <a:gd name="connsiteX97" fmla="*/ 1087048 w 1785077"/>
              <a:gd name="connsiteY97" fmla="*/ 427417 h 463366"/>
              <a:gd name="connsiteX98" fmla="*/ 1051680 w 1785077"/>
              <a:gd name="connsiteY98" fmla="*/ 463336 h 463366"/>
              <a:gd name="connsiteX99" fmla="*/ 1016312 w 1785077"/>
              <a:gd name="connsiteY99" fmla="*/ 427417 h 463366"/>
              <a:gd name="connsiteX100" fmla="*/ 1051680 w 1785077"/>
              <a:gd name="connsiteY100" fmla="*/ 391616 h 463366"/>
              <a:gd name="connsiteX101" fmla="*/ 1133219 w 1785077"/>
              <a:gd name="connsiteY101" fmla="*/ 391587 h 463366"/>
              <a:gd name="connsiteX102" fmla="*/ 1144020 w 1785077"/>
              <a:gd name="connsiteY102" fmla="*/ 394876 h 463366"/>
              <a:gd name="connsiteX103" fmla="*/ 1136929 w 1785077"/>
              <a:gd name="connsiteY103" fmla="*/ 411206 h 463366"/>
              <a:gd name="connsiteX104" fmla="*/ 1127833 w 1785077"/>
              <a:gd name="connsiteY104" fmla="*/ 408365 h 463366"/>
              <a:gd name="connsiteX105" fmla="*/ 1116462 w 1785077"/>
              <a:gd name="connsiteY105" fmla="*/ 423409 h 463366"/>
              <a:gd name="connsiteX106" fmla="*/ 1116462 w 1785077"/>
              <a:gd name="connsiteY106" fmla="*/ 461482 h 463366"/>
              <a:gd name="connsiteX107" fmla="*/ 1099137 w 1785077"/>
              <a:gd name="connsiteY107" fmla="*/ 461482 h 463366"/>
              <a:gd name="connsiteX108" fmla="*/ 1099137 w 1785077"/>
              <a:gd name="connsiteY108" fmla="*/ 393441 h 463366"/>
              <a:gd name="connsiteX109" fmla="*/ 1116462 w 1785077"/>
              <a:gd name="connsiteY109" fmla="*/ 393441 h 463366"/>
              <a:gd name="connsiteX110" fmla="*/ 1116462 w 1785077"/>
              <a:gd name="connsiteY110" fmla="*/ 403520 h 463366"/>
              <a:gd name="connsiteX111" fmla="*/ 1133219 w 1785077"/>
              <a:gd name="connsiteY111" fmla="*/ 391587 h 463366"/>
              <a:gd name="connsiteX112" fmla="*/ 609398 w 1785077"/>
              <a:gd name="connsiteY112" fmla="*/ 386173 h 463366"/>
              <a:gd name="connsiteX113" fmla="*/ 609398 w 1785077"/>
              <a:gd name="connsiteY113" fmla="*/ 386203 h 463366"/>
              <a:gd name="connsiteX114" fmla="*/ 609398 w 1785077"/>
              <a:gd name="connsiteY114" fmla="*/ 408066 h 463366"/>
              <a:gd name="connsiteX115" fmla="*/ 626603 w 1785077"/>
              <a:gd name="connsiteY115" fmla="*/ 408066 h 463366"/>
              <a:gd name="connsiteX116" fmla="*/ 639829 w 1785077"/>
              <a:gd name="connsiteY116" fmla="*/ 397120 h 463366"/>
              <a:gd name="connsiteX117" fmla="*/ 626603 w 1785077"/>
              <a:gd name="connsiteY117" fmla="*/ 386173 h 463366"/>
              <a:gd name="connsiteX118" fmla="*/ 1608595 w 1785077"/>
              <a:gd name="connsiteY118" fmla="*/ 375855 h 463366"/>
              <a:gd name="connsiteX119" fmla="*/ 1626069 w 1785077"/>
              <a:gd name="connsiteY119" fmla="*/ 375855 h 463366"/>
              <a:gd name="connsiteX120" fmla="*/ 1626069 w 1785077"/>
              <a:gd name="connsiteY120" fmla="*/ 393471 h 463366"/>
              <a:gd name="connsiteX121" fmla="*/ 1644412 w 1785077"/>
              <a:gd name="connsiteY121" fmla="*/ 393471 h 463366"/>
              <a:gd name="connsiteX122" fmla="*/ 1644412 w 1785077"/>
              <a:gd name="connsiteY122" fmla="*/ 408814 h 463366"/>
              <a:gd name="connsiteX123" fmla="*/ 1626219 w 1785077"/>
              <a:gd name="connsiteY123" fmla="*/ 408814 h 463366"/>
              <a:gd name="connsiteX124" fmla="*/ 1626219 w 1785077"/>
              <a:gd name="connsiteY124" fmla="*/ 437795 h 463366"/>
              <a:gd name="connsiteX125" fmla="*/ 1633879 w 1785077"/>
              <a:gd name="connsiteY125" fmla="*/ 447156 h 463366"/>
              <a:gd name="connsiteX126" fmla="*/ 1641988 w 1785077"/>
              <a:gd name="connsiteY126" fmla="*/ 443746 h 463366"/>
              <a:gd name="connsiteX127" fmla="*/ 1649648 w 1785077"/>
              <a:gd name="connsiteY127" fmla="*/ 456667 h 463366"/>
              <a:gd name="connsiteX128" fmla="*/ 1631186 w 1785077"/>
              <a:gd name="connsiteY128" fmla="*/ 463336 h 463366"/>
              <a:gd name="connsiteX129" fmla="*/ 1608595 w 1785077"/>
              <a:gd name="connsiteY129" fmla="*/ 438213 h 463366"/>
              <a:gd name="connsiteX130" fmla="*/ 1608595 w 1785077"/>
              <a:gd name="connsiteY130" fmla="*/ 408814 h 463366"/>
              <a:gd name="connsiteX131" fmla="*/ 1596656 w 1785077"/>
              <a:gd name="connsiteY131" fmla="*/ 408814 h 463366"/>
              <a:gd name="connsiteX132" fmla="*/ 1596656 w 1785077"/>
              <a:gd name="connsiteY132" fmla="*/ 393471 h 463366"/>
              <a:gd name="connsiteX133" fmla="*/ 1608595 w 1785077"/>
              <a:gd name="connsiteY133" fmla="*/ 393471 h 463366"/>
              <a:gd name="connsiteX134" fmla="*/ 591654 w 1785077"/>
              <a:gd name="connsiteY134" fmla="*/ 370591 h 463366"/>
              <a:gd name="connsiteX135" fmla="*/ 591804 w 1785077"/>
              <a:gd name="connsiteY135" fmla="*/ 370591 h 463366"/>
              <a:gd name="connsiteX136" fmla="*/ 609428 w 1785077"/>
              <a:gd name="connsiteY136" fmla="*/ 370591 h 463366"/>
              <a:gd name="connsiteX137" fmla="*/ 628339 w 1785077"/>
              <a:gd name="connsiteY137" fmla="*/ 370591 h 463366"/>
              <a:gd name="connsiteX138" fmla="*/ 658321 w 1785077"/>
              <a:gd name="connsiteY138" fmla="*/ 395714 h 463366"/>
              <a:gd name="connsiteX139" fmla="*/ 644826 w 1785077"/>
              <a:gd name="connsiteY139" fmla="*/ 414735 h 463366"/>
              <a:gd name="connsiteX140" fmla="*/ 660834 w 1785077"/>
              <a:gd name="connsiteY140" fmla="*/ 435910 h 463366"/>
              <a:gd name="connsiteX141" fmla="*/ 630433 w 1785077"/>
              <a:gd name="connsiteY141" fmla="*/ 461482 h 463366"/>
              <a:gd name="connsiteX142" fmla="*/ 591654 w 1785077"/>
              <a:gd name="connsiteY142" fmla="*/ 461482 h 463366"/>
              <a:gd name="connsiteX143" fmla="*/ 1306678 w 1785077"/>
              <a:gd name="connsiteY143" fmla="*/ 370442 h 463366"/>
              <a:gd name="connsiteX144" fmla="*/ 1324452 w 1785077"/>
              <a:gd name="connsiteY144" fmla="*/ 370442 h 463366"/>
              <a:gd name="connsiteX145" fmla="*/ 1324452 w 1785077"/>
              <a:gd name="connsiteY145" fmla="*/ 406660 h 463366"/>
              <a:gd name="connsiteX146" fmla="*/ 1367929 w 1785077"/>
              <a:gd name="connsiteY146" fmla="*/ 406660 h 463366"/>
              <a:gd name="connsiteX147" fmla="*/ 1367929 w 1785077"/>
              <a:gd name="connsiteY147" fmla="*/ 370442 h 463366"/>
              <a:gd name="connsiteX148" fmla="*/ 1385703 w 1785077"/>
              <a:gd name="connsiteY148" fmla="*/ 370442 h 463366"/>
              <a:gd name="connsiteX149" fmla="*/ 1385703 w 1785077"/>
              <a:gd name="connsiteY149" fmla="*/ 461482 h 463366"/>
              <a:gd name="connsiteX150" fmla="*/ 1367929 w 1785077"/>
              <a:gd name="connsiteY150" fmla="*/ 461482 h 463366"/>
              <a:gd name="connsiteX151" fmla="*/ 1367929 w 1785077"/>
              <a:gd name="connsiteY151" fmla="*/ 423289 h 463366"/>
              <a:gd name="connsiteX152" fmla="*/ 1324452 w 1785077"/>
              <a:gd name="connsiteY152" fmla="*/ 423289 h 463366"/>
              <a:gd name="connsiteX153" fmla="*/ 1324452 w 1785077"/>
              <a:gd name="connsiteY153" fmla="*/ 461482 h 463366"/>
              <a:gd name="connsiteX154" fmla="*/ 1306678 w 1785077"/>
              <a:gd name="connsiteY154" fmla="*/ 461482 h 463366"/>
              <a:gd name="connsiteX155" fmla="*/ 995426 w 1785077"/>
              <a:gd name="connsiteY155" fmla="*/ 364071 h 463366"/>
              <a:gd name="connsiteX156" fmla="*/ 1005660 w 1785077"/>
              <a:gd name="connsiteY156" fmla="*/ 374150 h 463366"/>
              <a:gd name="connsiteX157" fmla="*/ 995426 w 1785077"/>
              <a:gd name="connsiteY157" fmla="*/ 384379 h 463366"/>
              <a:gd name="connsiteX158" fmla="*/ 985342 w 1785077"/>
              <a:gd name="connsiteY158" fmla="*/ 374150 h 463366"/>
              <a:gd name="connsiteX159" fmla="*/ 995426 w 1785077"/>
              <a:gd name="connsiteY159" fmla="*/ 364071 h 463366"/>
              <a:gd name="connsiteX160" fmla="*/ 1563831 w 1785077"/>
              <a:gd name="connsiteY160" fmla="*/ 363802 h 463366"/>
              <a:gd name="connsiteX161" fmla="*/ 1581156 w 1785077"/>
              <a:gd name="connsiteY161" fmla="*/ 363802 h 463366"/>
              <a:gd name="connsiteX162" fmla="*/ 1581156 w 1785077"/>
              <a:gd name="connsiteY162" fmla="*/ 439918 h 463366"/>
              <a:gd name="connsiteX163" fmla="*/ 1587260 w 1785077"/>
              <a:gd name="connsiteY163" fmla="*/ 447156 h 463366"/>
              <a:gd name="connsiteX164" fmla="*/ 1590103 w 1785077"/>
              <a:gd name="connsiteY164" fmla="*/ 446438 h 463366"/>
              <a:gd name="connsiteX165" fmla="*/ 1591958 w 1785077"/>
              <a:gd name="connsiteY165" fmla="*/ 461631 h 463366"/>
              <a:gd name="connsiteX166" fmla="*/ 1583580 w 1785077"/>
              <a:gd name="connsiteY166" fmla="*/ 463067 h 463366"/>
              <a:gd name="connsiteX167" fmla="*/ 1563831 w 1785077"/>
              <a:gd name="connsiteY167" fmla="*/ 439499 h 463366"/>
              <a:gd name="connsiteX168" fmla="*/ 1232950 w 1785077"/>
              <a:gd name="connsiteY168" fmla="*/ 363802 h 463366"/>
              <a:gd name="connsiteX169" fmla="*/ 1250275 w 1785077"/>
              <a:gd name="connsiteY169" fmla="*/ 363802 h 463366"/>
              <a:gd name="connsiteX170" fmla="*/ 1250275 w 1785077"/>
              <a:gd name="connsiteY170" fmla="*/ 439918 h 463366"/>
              <a:gd name="connsiteX171" fmla="*/ 1256379 w 1785077"/>
              <a:gd name="connsiteY171" fmla="*/ 447156 h 463366"/>
              <a:gd name="connsiteX172" fmla="*/ 1259222 w 1785077"/>
              <a:gd name="connsiteY172" fmla="*/ 446438 h 463366"/>
              <a:gd name="connsiteX173" fmla="*/ 1261077 w 1785077"/>
              <a:gd name="connsiteY173" fmla="*/ 461631 h 463366"/>
              <a:gd name="connsiteX174" fmla="*/ 1252698 w 1785077"/>
              <a:gd name="connsiteY174" fmla="*/ 463067 h 463366"/>
              <a:gd name="connsiteX175" fmla="*/ 1232950 w 1785077"/>
              <a:gd name="connsiteY175" fmla="*/ 439499 h 463366"/>
              <a:gd name="connsiteX176" fmla="*/ 1661168 w 1785077"/>
              <a:gd name="connsiteY176" fmla="*/ 363772 h 463366"/>
              <a:gd name="connsiteX177" fmla="*/ 1678494 w 1785077"/>
              <a:gd name="connsiteY177" fmla="*/ 363772 h 463366"/>
              <a:gd name="connsiteX178" fmla="*/ 1678494 w 1785077"/>
              <a:gd name="connsiteY178" fmla="*/ 403101 h 463366"/>
              <a:gd name="connsiteX179" fmla="*/ 1697823 w 1785077"/>
              <a:gd name="connsiteY179" fmla="*/ 391587 h 463366"/>
              <a:gd name="connsiteX180" fmla="*/ 1723527 w 1785077"/>
              <a:gd name="connsiteY180" fmla="*/ 420298 h 463366"/>
              <a:gd name="connsiteX181" fmla="*/ 1723527 w 1785077"/>
              <a:gd name="connsiteY181" fmla="*/ 461482 h 463366"/>
              <a:gd name="connsiteX182" fmla="*/ 1706202 w 1785077"/>
              <a:gd name="connsiteY182" fmla="*/ 461482 h 463366"/>
              <a:gd name="connsiteX183" fmla="*/ 1706202 w 1785077"/>
              <a:gd name="connsiteY183" fmla="*/ 422841 h 463366"/>
              <a:gd name="connsiteX184" fmla="*/ 1692407 w 1785077"/>
              <a:gd name="connsiteY184" fmla="*/ 407797 h 463366"/>
              <a:gd name="connsiteX185" fmla="*/ 1678494 w 1785077"/>
              <a:gd name="connsiteY185" fmla="*/ 422841 h 463366"/>
              <a:gd name="connsiteX186" fmla="*/ 1678494 w 1785077"/>
              <a:gd name="connsiteY186" fmla="*/ 461482 h 463366"/>
              <a:gd name="connsiteX187" fmla="*/ 1661168 w 1785077"/>
              <a:gd name="connsiteY187" fmla="*/ 461482 h 463366"/>
              <a:gd name="connsiteX188" fmla="*/ 750213 w 1785077"/>
              <a:gd name="connsiteY188" fmla="*/ 363772 h 463366"/>
              <a:gd name="connsiteX189" fmla="*/ 767538 w 1785077"/>
              <a:gd name="connsiteY189" fmla="*/ 363772 h 463366"/>
              <a:gd name="connsiteX190" fmla="*/ 767538 w 1785077"/>
              <a:gd name="connsiteY190" fmla="*/ 403101 h 463366"/>
              <a:gd name="connsiteX191" fmla="*/ 786867 w 1785077"/>
              <a:gd name="connsiteY191" fmla="*/ 391587 h 463366"/>
              <a:gd name="connsiteX192" fmla="*/ 812571 w 1785077"/>
              <a:gd name="connsiteY192" fmla="*/ 420298 h 463366"/>
              <a:gd name="connsiteX193" fmla="*/ 812571 w 1785077"/>
              <a:gd name="connsiteY193" fmla="*/ 461482 h 463366"/>
              <a:gd name="connsiteX194" fmla="*/ 795246 w 1785077"/>
              <a:gd name="connsiteY194" fmla="*/ 461482 h 463366"/>
              <a:gd name="connsiteX195" fmla="*/ 795246 w 1785077"/>
              <a:gd name="connsiteY195" fmla="*/ 422841 h 463366"/>
              <a:gd name="connsiteX196" fmla="*/ 781451 w 1785077"/>
              <a:gd name="connsiteY196" fmla="*/ 407797 h 463366"/>
              <a:gd name="connsiteX197" fmla="*/ 767538 w 1785077"/>
              <a:gd name="connsiteY197" fmla="*/ 422841 h 463366"/>
              <a:gd name="connsiteX198" fmla="*/ 767538 w 1785077"/>
              <a:gd name="connsiteY198" fmla="*/ 461482 h 463366"/>
              <a:gd name="connsiteX199" fmla="*/ 750213 w 1785077"/>
              <a:gd name="connsiteY199" fmla="*/ 461482 h 463366"/>
              <a:gd name="connsiteX200" fmla="*/ 1760720 w 1785077"/>
              <a:gd name="connsiteY200" fmla="*/ 269382 h 463366"/>
              <a:gd name="connsiteX201" fmla="*/ 1764580 w 1785077"/>
              <a:gd name="connsiteY201" fmla="*/ 269382 h 463366"/>
              <a:gd name="connsiteX202" fmla="*/ 1773138 w 1785077"/>
              <a:gd name="connsiteY202" fmla="*/ 282960 h 463366"/>
              <a:gd name="connsiteX203" fmla="*/ 1781666 w 1785077"/>
              <a:gd name="connsiteY203" fmla="*/ 269382 h 463366"/>
              <a:gd name="connsiteX204" fmla="*/ 1785077 w 1785077"/>
              <a:gd name="connsiteY204" fmla="*/ 269382 h 463366"/>
              <a:gd name="connsiteX205" fmla="*/ 1785077 w 1785077"/>
              <a:gd name="connsiteY205" fmla="*/ 293099 h 463366"/>
              <a:gd name="connsiteX206" fmla="*/ 1781756 w 1785077"/>
              <a:gd name="connsiteY206" fmla="*/ 293099 h 463366"/>
              <a:gd name="connsiteX207" fmla="*/ 1781756 w 1785077"/>
              <a:gd name="connsiteY207" fmla="*/ 274705 h 463366"/>
              <a:gd name="connsiteX208" fmla="*/ 1772929 w 1785077"/>
              <a:gd name="connsiteY208" fmla="*/ 288433 h 463366"/>
              <a:gd name="connsiteX209" fmla="*/ 1764042 w 1785077"/>
              <a:gd name="connsiteY209" fmla="*/ 274705 h 463366"/>
              <a:gd name="connsiteX210" fmla="*/ 1764042 w 1785077"/>
              <a:gd name="connsiteY210" fmla="*/ 293099 h 463366"/>
              <a:gd name="connsiteX211" fmla="*/ 1760720 w 1785077"/>
              <a:gd name="connsiteY211" fmla="*/ 293099 h 463366"/>
              <a:gd name="connsiteX212" fmla="*/ 1748452 w 1785077"/>
              <a:gd name="connsiteY212" fmla="*/ 268963 h 463366"/>
              <a:gd name="connsiteX213" fmla="*/ 1756591 w 1785077"/>
              <a:gd name="connsiteY213" fmla="*/ 272642 h 463366"/>
              <a:gd name="connsiteX214" fmla="*/ 1754287 w 1785077"/>
              <a:gd name="connsiteY214" fmla="*/ 274885 h 463366"/>
              <a:gd name="connsiteX215" fmla="*/ 1748392 w 1785077"/>
              <a:gd name="connsiteY215" fmla="*/ 272073 h 463366"/>
              <a:gd name="connsiteX216" fmla="*/ 1743754 w 1785077"/>
              <a:gd name="connsiteY216" fmla="*/ 275274 h 463366"/>
              <a:gd name="connsiteX217" fmla="*/ 1757010 w 1785077"/>
              <a:gd name="connsiteY217" fmla="*/ 286549 h 463366"/>
              <a:gd name="connsiteX218" fmla="*/ 1748303 w 1785077"/>
              <a:gd name="connsiteY218" fmla="*/ 293547 h 463366"/>
              <a:gd name="connsiteX219" fmla="*/ 1739326 w 1785077"/>
              <a:gd name="connsiteY219" fmla="*/ 289510 h 463366"/>
              <a:gd name="connsiteX220" fmla="*/ 1741720 w 1785077"/>
              <a:gd name="connsiteY220" fmla="*/ 287267 h 463366"/>
              <a:gd name="connsiteX221" fmla="*/ 1748303 w 1785077"/>
              <a:gd name="connsiteY221" fmla="*/ 290407 h 463366"/>
              <a:gd name="connsiteX222" fmla="*/ 1753419 w 1785077"/>
              <a:gd name="connsiteY222" fmla="*/ 286788 h 463366"/>
              <a:gd name="connsiteX223" fmla="*/ 1740164 w 1785077"/>
              <a:gd name="connsiteY223" fmla="*/ 275393 h 463366"/>
              <a:gd name="connsiteX224" fmla="*/ 1748452 w 1785077"/>
              <a:gd name="connsiteY224" fmla="*/ 268963 h 463366"/>
              <a:gd name="connsiteX225" fmla="*/ 1411587 w 1785077"/>
              <a:gd name="connsiteY225" fmla="*/ 134646 h 463366"/>
              <a:gd name="connsiteX226" fmla="*/ 1357906 w 1785077"/>
              <a:gd name="connsiteY226" fmla="*/ 192488 h 463366"/>
              <a:gd name="connsiteX227" fmla="*/ 1411587 w 1785077"/>
              <a:gd name="connsiteY227" fmla="*/ 250749 h 463366"/>
              <a:gd name="connsiteX228" fmla="*/ 1464429 w 1785077"/>
              <a:gd name="connsiteY228" fmla="*/ 192488 h 463366"/>
              <a:gd name="connsiteX229" fmla="*/ 1411587 w 1785077"/>
              <a:gd name="connsiteY229" fmla="*/ 134646 h 463366"/>
              <a:gd name="connsiteX230" fmla="*/ 742014 w 1785077"/>
              <a:gd name="connsiteY230" fmla="*/ 134646 h 463366"/>
              <a:gd name="connsiteX231" fmla="*/ 688334 w 1785077"/>
              <a:gd name="connsiteY231" fmla="*/ 192488 h 463366"/>
              <a:gd name="connsiteX232" fmla="*/ 742014 w 1785077"/>
              <a:gd name="connsiteY232" fmla="*/ 250749 h 463366"/>
              <a:gd name="connsiteX233" fmla="*/ 794857 w 1785077"/>
              <a:gd name="connsiteY233" fmla="*/ 192488 h 463366"/>
              <a:gd name="connsiteX234" fmla="*/ 742014 w 1785077"/>
              <a:gd name="connsiteY234" fmla="*/ 134646 h 463366"/>
              <a:gd name="connsiteX235" fmla="*/ 1110987 w 1785077"/>
              <a:gd name="connsiteY235" fmla="*/ 130070 h 463366"/>
              <a:gd name="connsiteX236" fmla="*/ 1061914 w 1785077"/>
              <a:gd name="connsiteY236" fmla="*/ 173227 h 463366"/>
              <a:gd name="connsiteX237" fmla="*/ 1158773 w 1785077"/>
              <a:gd name="connsiteY237" fmla="*/ 173227 h 463366"/>
              <a:gd name="connsiteX238" fmla="*/ 1110987 w 1785077"/>
              <a:gd name="connsiteY238" fmla="*/ 130070 h 463366"/>
              <a:gd name="connsiteX239" fmla="*/ 733636 w 1785077"/>
              <a:gd name="connsiteY239" fmla="*/ 86494 h 463366"/>
              <a:gd name="connsiteX240" fmla="*/ 794857 w 1785077"/>
              <a:gd name="connsiteY240" fmla="*/ 112484 h 463366"/>
              <a:gd name="connsiteX241" fmla="*/ 794857 w 1785077"/>
              <a:gd name="connsiteY241" fmla="*/ 92356 h 463366"/>
              <a:gd name="connsiteX242" fmla="*/ 846443 w 1785077"/>
              <a:gd name="connsiteY242" fmla="*/ 92356 h 463366"/>
              <a:gd name="connsiteX243" fmla="*/ 846443 w 1785077"/>
              <a:gd name="connsiteY243" fmla="*/ 293099 h 463366"/>
              <a:gd name="connsiteX244" fmla="*/ 794857 w 1785077"/>
              <a:gd name="connsiteY244" fmla="*/ 293099 h 463366"/>
              <a:gd name="connsiteX245" fmla="*/ 794857 w 1785077"/>
              <a:gd name="connsiteY245" fmla="*/ 271296 h 463366"/>
              <a:gd name="connsiteX246" fmla="*/ 733636 w 1785077"/>
              <a:gd name="connsiteY246" fmla="*/ 298961 h 463366"/>
              <a:gd name="connsiteX247" fmla="*/ 637196 w 1785077"/>
              <a:gd name="connsiteY247" fmla="*/ 192937 h 463366"/>
              <a:gd name="connsiteX248" fmla="*/ 733636 w 1785077"/>
              <a:gd name="connsiteY248" fmla="*/ 86494 h 463366"/>
              <a:gd name="connsiteX249" fmla="*/ 555628 w 1785077"/>
              <a:gd name="connsiteY249" fmla="*/ 86494 h 463366"/>
              <a:gd name="connsiteX250" fmla="*/ 634862 w 1785077"/>
              <a:gd name="connsiteY250" fmla="*/ 116671 h 463366"/>
              <a:gd name="connsiteX251" fmla="*/ 605509 w 1785077"/>
              <a:gd name="connsiteY251" fmla="*/ 153129 h 463366"/>
              <a:gd name="connsiteX252" fmla="*/ 558141 w 1785077"/>
              <a:gd name="connsiteY252" fmla="*/ 134676 h 463366"/>
              <a:gd name="connsiteX253" fmla="*/ 501947 w 1785077"/>
              <a:gd name="connsiteY253" fmla="*/ 192518 h 463366"/>
              <a:gd name="connsiteX254" fmla="*/ 557723 w 1785077"/>
              <a:gd name="connsiteY254" fmla="*/ 250779 h 463366"/>
              <a:gd name="connsiteX255" fmla="*/ 607184 w 1785077"/>
              <a:gd name="connsiteY255" fmla="*/ 231070 h 463366"/>
              <a:gd name="connsiteX256" fmla="*/ 633187 w 1785077"/>
              <a:gd name="connsiteY256" fmla="*/ 268784 h 463366"/>
              <a:gd name="connsiteX257" fmla="*/ 556466 w 1785077"/>
              <a:gd name="connsiteY257" fmla="*/ 298961 h 463366"/>
              <a:gd name="connsiteX258" fmla="*/ 450810 w 1785077"/>
              <a:gd name="connsiteY258" fmla="*/ 192937 h 463366"/>
              <a:gd name="connsiteX259" fmla="*/ 555628 w 1785077"/>
              <a:gd name="connsiteY259" fmla="*/ 86494 h 463366"/>
              <a:gd name="connsiteX260" fmla="*/ 1647225 w 1785077"/>
              <a:gd name="connsiteY260" fmla="*/ 86464 h 463366"/>
              <a:gd name="connsiteX261" fmla="*/ 1723527 w 1785077"/>
              <a:gd name="connsiteY261" fmla="*/ 171553 h 463366"/>
              <a:gd name="connsiteX262" fmla="*/ 1723527 w 1785077"/>
              <a:gd name="connsiteY262" fmla="*/ 293099 h 463366"/>
              <a:gd name="connsiteX263" fmla="*/ 1672360 w 1785077"/>
              <a:gd name="connsiteY263" fmla="*/ 293099 h 463366"/>
              <a:gd name="connsiteX264" fmla="*/ 1672360 w 1785077"/>
              <a:gd name="connsiteY264" fmla="*/ 179089 h 463366"/>
              <a:gd name="connsiteX265" fmla="*/ 1631695 w 1785077"/>
              <a:gd name="connsiteY265" fmla="*/ 134676 h 463366"/>
              <a:gd name="connsiteX266" fmla="*/ 1590612 w 1785077"/>
              <a:gd name="connsiteY266" fmla="*/ 179089 h 463366"/>
              <a:gd name="connsiteX267" fmla="*/ 1590612 w 1785077"/>
              <a:gd name="connsiteY267" fmla="*/ 293069 h 463366"/>
              <a:gd name="connsiteX268" fmla="*/ 1539445 w 1785077"/>
              <a:gd name="connsiteY268" fmla="*/ 293069 h 463366"/>
              <a:gd name="connsiteX269" fmla="*/ 1539445 w 1785077"/>
              <a:gd name="connsiteY269" fmla="*/ 92326 h 463366"/>
              <a:gd name="connsiteX270" fmla="*/ 1590612 w 1785077"/>
              <a:gd name="connsiteY270" fmla="*/ 92326 h 463366"/>
              <a:gd name="connsiteX271" fmla="*/ 1590612 w 1785077"/>
              <a:gd name="connsiteY271" fmla="*/ 112035 h 463366"/>
              <a:gd name="connsiteX272" fmla="*/ 1647225 w 1785077"/>
              <a:gd name="connsiteY272" fmla="*/ 86464 h 463366"/>
              <a:gd name="connsiteX273" fmla="*/ 1411168 w 1785077"/>
              <a:gd name="connsiteY273" fmla="*/ 86464 h 463366"/>
              <a:gd name="connsiteX274" fmla="*/ 1515986 w 1785077"/>
              <a:gd name="connsiteY274" fmla="*/ 192907 h 463366"/>
              <a:gd name="connsiteX275" fmla="*/ 1411168 w 1785077"/>
              <a:gd name="connsiteY275" fmla="*/ 298931 h 463366"/>
              <a:gd name="connsiteX276" fmla="*/ 1306769 w 1785077"/>
              <a:gd name="connsiteY276" fmla="*/ 192907 h 463366"/>
              <a:gd name="connsiteX277" fmla="*/ 1411168 w 1785077"/>
              <a:gd name="connsiteY277" fmla="*/ 86464 h 463366"/>
              <a:gd name="connsiteX278" fmla="*/ 1110119 w 1785077"/>
              <a:gd name="connsiteY278" fmla="*/ 86464 h 463366"/>
              <a:gd name="connsiteX279" fmla="*/ 1211167 w 1785077"/>
              <a:gd name="connsiteY279" fmla="*/ 188720 h 463366"/>
              <a:gd name="connsiteX280" fmla="*/ 1209910 w 1785077"/>
              <a:gd name="connsiteY280" fmla="*/ 205468 h 463366"/>
              <a:gd name="connsiteX281" fmla="*/ 1061046 w 1785077"/>
              <a:gd name="connsiteY281" fmla="*/ 205468 h 463366"/>
              <a:gd name="connsiteX282" fmla="*/ 1118497 w 1785077"/>
              <a:gd name="connsiteY282" fmla="*/ 253680 h 463366"/>
              <a:gd name="connsiteX283" fmla="*/ 1167570 w 1785077"/>
              <a:gd name="connsiteY283" fmla="*/ 232715 h 463366"/>
              <a:gd name="connsiteX284" fmla="*/ 1193991 w 1785077"/>
              <a:gd name="connsiteY284" fmla="*/ 267498 h 463366"/>
              <a:gd name="connsiteX285" fmla="*/ 1116433 w 1785077"/>
              <a:gd name="connsiteY285" fmla="*/ 298931 h 463366"/>
              <a:gd name="connsiteX286" fmla="*/ 1008652 w 1785077"/>
              <a:gd name="connsiteY286" fmla="*/ 192907 h 463366"/>
              <a:gd name="connsiteX287" fmla="*/ 1110119 w 1785077"/>
              <a:gd name="connsiteY287" fmla="*/ 86464 h 463366"/>
              <a:gd name="connsiteX288" fmla="*/ 983518 w 1785077"/>
              <a:gd name="connsiteY288" fmla="*/ 86464 h 463366"/>
              <a:gd name="connsiteX289" fmla="*/ 1015804 w 1785077"/>
              <a:gd name="connsiteY289" fmla="*/ 96513 h 463366"/>
              <a:gd name="connsiteX290" fmla="*/ 994409 w 1785077"/>
              <a:gd name="connsiteY290" fmla="*/ 145144 h 463366"/>
              <a:gd name="connsiteX291" fmla="*/ 967988 w 1785077"/>
              <a:gd name="connsiteY291" fmla="*/ 136351 h 463366"/>
              <a:gd name="connsiteX292" fmla="*/ 934445 w 1785077"/>
              <a:gd name="connsiteY292" fmla="*/ 180764 h 463366"/>
              <a:gd name="connsiteX293" fmla="*/ 934445 w 1785077"/>
              <a:gd name="connsiteY293" fmla="*/ 293069 h 463366"/>
              <a:gd name="connsiteX294" fmla="*/ 883278 w 1785077"/>
              <a:gd name="connsiteY294" fmla="*/ 293069 h 463366"/>
              <a:gd name="connsiteX295" fmla="*/ 883278 w 1785077"/>
              <a:gd name="connsiteY295" fmla="*/ 92326 h 463366"/>
              <a:gd name="connsiteX296" fmla="*/ 934445 w 1785077"/>
              <a:gd name="connsiteY296" fmla="*/ 92326 h 463366"/>
              <a:gd name="connsiteX297" fmla="*/ 934445 w 1785077"/>
              <a:gd name="connsiteY297" fmla="*/ 114129 h 463366"/>
              <a:gd name="connsiteX298" fmla="*/ 983518 w 1785077"/>
              <a:gd name="connsiteY298" fmla="*/ 86464 h 463366"/>
              <a:gd name="connsiteX299" fmla="*/ 289840 w 1785077"/>
              <a:gd name="connsiteY299" fmla="*/ 38556 h 463366"/>
              <a:gd name="connsiteX300" fmla="*/ 241383 w 1785077"/>
              <a:gd name="connsiteY300" fmla="*/ 74352 h 463366"/>
              <a:gd name="connsiteX301" fmla="*/ 247637 w 1785077"/>
              <a:gd name="connsiteY301" fmla="*/ 123760 h 463366"/>
              <a:gd name="connsiteX302" fmla="*/ 192849 w 1785077"/>
              <a:gd name="connsiteY302" fmla="*/ 146131 h 463366"/>
              <a:gd name="connsiteX303" fmla="*/ 138151 w 1785077"/>
              <a:gd name="connsiteY303" fmla="*/ 123610 h 463366"/>
              <a:gd name="connsiteX304" fmla="*/ 144285 w 1785077"/>
              <a:gd name="connsiteY304" fmla="*/ 111587 h 463366"/>
              <a:gd name="connsiteX305" fmla="*/ 147574 w 1785077"/>
              <a:gd name="connsiteY305" fmla="*/ 93063 h 463366"/>
              <a:gd name="connsiteX306" fmla="*/ 137965 w 1785077"/>
              <a:gd name="connsiteY306" fmla="*/ 62101 h 463366"/>
              <a:gd name="connsiteX307" fmla="*/ 111700 w 1785077"/>
              <a:gd name="connsiteY307" fmla="*/ 41782 h 463366"/>
              <a:gd name="connsiteX308" fmla="*/ 90289 w 1785077"/>
              <a:gd name="connsiteY308" fmla="*/ 38556 h 463366"/>
              <a:gd name="connsiteX309" fmla="*/ 41831 w 1785077"/>
              <a:gd name="connsiteY309" fmla="*/ 74352 h 463366"/>
              <a:gd name="connsiteX310" fmla="*/ 74417 w 1785077"/>
              <a:gd name="connsiteY310" fmla="*/ 144187 h 463366"/>
              <a:gd name="connsiteX311" fmla="*/ 123849 w 1785077"/>
              <a:gd name="connsiteY311" fmla="*/ 137936 h 463366"/>
              <a:gd name="connsiteX312" fmla="*/ 146231 w 1785077"/>
              <a:gd name="connsiteY312" fmla="*/ 192668 h 463366"/>
              <a:gd name="connsiteX313" fmla="*/ 123699 w 1785077"/>
              <a:gd name="connsiteY313" fmla="*/ 247340 h 463366"/>
              <a:gd name="connsiteX314" fmla="*/ 111670 w 1785077"/>
              <a:gd name="connsiteY314" fmla="*/ 241209 h 463366"/>
              <a:gd name="connsiteX315" fmla="*/ 93118 w 1785077"/>
              <a:gd name="connsiteY315" fmla="*/ 237919 h 463366"/>
              <a:gd name="connsiteX316" fmla="*/ 93128 w 1785077"/>
              <a:gd name="connsiteY316" fmla="*/ 237895 h 463366"/>
              <a:gd name="connsiteX317" fmla="*/ 62160 w 1785077"/>
              <a:gd name="connsiteY317" fmla="*/ 247497 h 463366"/>
              <a:gd name="connsiteX318" fmla="*/ 41831 w 1785077"/>
              <a:gd name="connsiteY318" fmla="*/ 273749 h 463366"/>
              <a:gd name="connsiteX319" fmla="*/ 74417 w 1785077"/>
              <a:gd name="connsiteY319" fmla="*/ 343584 h 463366"/>
              <a:gd name="connsiteX320" fmla="*/ 144286 w 1785077"/>
              <a:gd name="connsiteY320" fmla="*/ 311014 h 463366"/>
              <a:gd name="connsiteX321" fmla="*/ 138032 w 1785077"/>
              <a:gd name="connsiteY321" fmla="*/ 261606 h 463366"/>
              <a:gd name="connsiteX322" fmla="*/ 192820 w 1785077"/>
              <a:gd name="connsiteY322" fmla="*/ 239235 h 463366"/>
              <a:gd name="connsiteX323" fmla="*/ 247458 w 1785077"/>
              <a:gd name="connsiteY323" fmla="*/ 261785 h 463366"/>
              <a:gd name="connsiteX324" fmla="*/ 241324 w 1785077"/>
              <a:gd name="connsiteY324" fmla="*/ 273808 h 463366"/>
              <a:gd name="connsiteX325" fmla="*/ 238035 w 1785077"/>
              <a:gd name="connsiteY325" fmla="*/ 292332 h 463366"/>
              <a:gd name="connsiteX326" fmla="*/ 247644 w 1785077"/>
              <a:gd name="connsiteY326" fmla="*/ 323295 h 463366"/>
              <a:gd name="connsiteX327" fmla="*/ 273909 w 1785077"/>
              <a:gd name="connsiteY327" fmla="*/ 343614 h 463366"/>
              <a:gd name="connsiteX328" fmla="*/ 343778 w 1785077"/>
              <a:gd name="connsiteY328" fmla="*/ 311044 h 463366"/>
              <a:gd name="connsiteX329" fmla="*/ 311192 w 1785077"/>
              <a:gd name="connsiteY329" fmla="*/ 241208 h 463366"/>
              <a:gd name="connsiteX330" fmla="*/ 261760 w 1785077"/>
              <a:gd name="connsiteY330" fmla="*/ 247459 h 463366"/>
              <a:gd name="connsiteX331" fmla="*/ 239379 w 1785077"/>
              <a:gd name="connsiteY331" fmla="*/ 192697 h 463366"/>
              <a:gd name="connsiteX332" fmla="*/ 261940 w 1785077"/>
              <a:gd name="connsiteY332" fmla="*/ 138115 h 463366"/>
              <a:gd name="connsiteX333" fmla="*/ 273969 w 1785077"/>
              <a:gd name="connsiteY333" fmla="*/ 144246 h 463366"/>
              <a:gd name="connsiteX334" fmla="*/ 292497 w 1785077"/>
              <a:gd name="connsiteY334" fmla="*/ 147532 h 463366"/>
              <a:gd name="connsiteX335" fmla="*/ 292520 w 1785077"/>
              <a:gd name="connsiteY335" fmla="*/ 147477 h 463366"/>
              <a:gd name="connsiteX336" fmla="*/ 343837 w 1785077"/>
              <a:gd name="connsiteY336" fmla="*/ 111617 h 463366"/>
              <a:gd name="connsiteX337" fmla="*/ 311252 w 1785077"/>
              <a:gd name="connsiteY337" fmla="*/ 41782 h 463366"/>
              <a:gd name="connsiteX338" fmla="*/ 289840 w 1785077"/>
              <a:gd name="connsiteY338" fmla="*/ 38556 h 463366"/>
              <a:gd name="connsiteX339" fmla="*/ 1232142 w 1785077"/>
              <a:gd name="connsiteY339" fmla="*/ 4755 h 463366"/>
              <a:gd name="connsiteX340" fmla="*/ 1283310 w 1785077"/>
              <a:gd name="connsiteY340" fmla="*/ 4755 h 463366"/>
              <a:gd name="connsiteX341" fmla="*/ 1283310 w 1785077"/>
              <a:gd name="connsiteY341" fmla="*/ 293099 h 463366"/>
              <a:gd name="connsiteX342" fmla="*/ 1232142 w 1785077"/>
              <a:gd name="connsiteY342" fmla="*/ 293099 h 463366"/>
              <a:gd name="connsiteX343" fmla="*/ 1232142 w 1785077"/>
              <a:gd name="connsiteY343" fmla="*/ 156868 h 463366"/>
              <a:gd name="connsiteX344" fmla="*/ 93029 w 1785077"/>
              <a:gd name="connsiteY344" fmla="*/ 0 h 463366"/>
              <a:gd name="connsiteX345" fmla="*/ 186087 w 1785077"/>
              <a:gd name="connsiteY345" fmla="*/ 92984 h 463366"/>
              <a:gd name="connsiteX346" fmla="*/ 184801 w 1785077"/>
              <a:gd name="connsiteY346" fmla="*/ 108375 h 463366"/>
              <a:gd name="connsiteX347" fmla="*/ 192819 w 1785077"/>
              <a:gd name="connsiteY347" fmla="*/ 111677 h 463366"/>
              <a:gd name="connsiteX348" fmla="*/ 200808 w 1785077"/>
              <a:gd name="connsiteY348" fmla="*/ 108387 h 463366"/>
              <a:gd name="connsiteX349" fmla="*/ 199552 w 1785077"/>
              <a:gd name="connsiteY349" fmla="*/ 92984 h 463366"/>
              <a:gd name="connsiteX350" fmla="*/ 292580 w 1785077"/>
              <a:gd name="connsiteY350" fmla="*/ 0 h 463366"/>
              <a:gd name="connsiteX351" fmla="*/ 385609 w 1785077"/>
              <a:gd name="connsiteY351" fmla="*/ 92984 h 463366"/>
              <a:gd name="connsiteX352" fmla="*/ 292580 w 1785077"/>
              <a:gd name="connsiteY352" fmla="*/ 185969 h 463366"/>
              <a:gd name="connsiteX353" fmla="*/ 277196 w 1785077"/>
              <a:gd name="connsiteY353" fmla="*/ 184685 h 463366"/>
              <a:gd name="connsiteX354" fmla="*/ 273879 w 1785077"/>
              <a:gd name="connsiteY354" fmla="*/ 192727 h 463366"/>
              <a:gd name="connsiteX355" fmla="*/ 277170 w 1785077"/>
              <a:gd name="connsiteY355" fmla="*/ 200713 h 463366"/>
              <a:gd name="connsiteX356" fmla="*/ 292580 w 1785077"/>
              <a:gd name="connsiteY356" fmla="*/ 199427 h 463366"/>
              <a:gd name="connsiteX357" fmla="*/ 385579 w 1785077"/>
              <a:gd name="connsiteY357" fmla="*/ 292411 h 463366"/>
              <a:gd name="connsiteX358" fmla="*/ 292551 w 1785077"/>
              <a:gd name="connsiteY358" fmla="*/ 385395 h 463366"/>
              <a:gd name="connsiteX359" fmla="*/ 199522 w 1785077"/>
              <a:gd name="connsiteY359" fmla="*/ 292411 h 463366"/>
              <a:gd name="connsiteX360" fmla="*/ 200808 w 1785077"/>
              <a:gd name="connsiteY360" fmla="*/ 277021 h 463366"/>
              <a:gd name="connsiteX361" fmla="*/ 192790 w 1785077"/>
              <a:gd name="connsiteY361" fmla="*/ 273719 h 463366"/>
              <a:gd name="connsiteX362" fmla="*/ 184770 w 1785077"/>
              <a:gd name="connsiteY362" fmla="*/ 277009 h 463366"/>
              <a:gd name="connsiteX363" fmla="*/ 186057 w 1785077"/>
              <a:gd name="connsiteY363" fmla="*/ 292411 h 463366"/>
              <a:gd name="connsiteX364" fmla="*/ 93029 w 1785077"/>
              <a:gd name="connsiteY364" fmla="*/ 385396 h 463366"/>
              <a:gd name="connsiteX365" fmla="*/ 0 w 1785077"/>
              <a:gd name="connsiteY365" fmla="*/ 292411 h 463366"/>
              <a:gd name="connsiteX366" fmla="*/ 93058 w 1785077"/>
              <a:gd name="connsiteY366" fmla="*/ 199367 h 463366"/>
              <a:gd name="connsiteX367" fmla="*/ 108458 w 1785077"/>
              <a:gd name="connsiteY367" fmla="*/ 200682 h 463366"/>
              <a:gd name="connsiteX368" fmla="*/ 111760 w 1785077"/>
              <a:gd name="connsiteY368" fmla="*/ 192668 h 463366"/>
              <a:gd name="connsiteX369" fmla="*/ 108439 w 1785077"/>
              <a:gd name="connsiteY369" fmla="*/ 184713 h 463366"/>
              <a:gd name="connsiteX370" fmla="*/ 93029 w 1785077"/>
              <a:gd name="connsiteY370" fmla="*/ 185939 h 463366"/>
              <a:gd name="connsiteX371" fmla="*/ 0 w 1785077"/>
              <a:gd name="connsiteY371" fmla="*/ 92984 h 463366"/>
              <a:gd name="connsiteX372" fmla="*/ 93029 w 1785077"/>
              <a:gd name="connsiteY372" fmla="*/ 0 h 463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Lst>
            <a:rect l="l" t="t" r="r" b="b"/>
            <a:pathLst>
              <a:path w="1785077" h="463366">
                <a:moveTo>
                  <a:pt x="609398" y="422691"/>
                </a:moveTo>
                <a:lnTo>
                  <a:pt x="609398" y="445690"/>
                </a:lnTo>
                <a:lnTo>
                  <a:pt x="628578" y="445690"/>
                </a:lnTo>
                <a:lnTo>
                  <a:pt x="628578" y="445720"/>
                </a:lnTo>
                <a:cubicBezTo>
                  <a:pt x="636538" y="445720"/>
                  <a:pt x="642372" y="440905"/>
                  <a:pt x="642372" y="434206"/>
                </a:cubicBezTo>
                <a:cubicBezTo>
                  <a:pt x="642372" y="427506"/>
                  <a:pt x="636538" y="422691"/>
                  <a:pt x="628578" y="422691"/>
                </a:cubicBezTo>
                <a:close/>
                <a:moveTo>
                  <a:pt x="1511976" y="407797"/>
                </a:moveTo>
                <a:cubicBezTo>
                  <a:pt x="1501473" y="407797"/>
                  <a:pt x="1493932" y="416470"/>
                  <a:pt x="1493932" y="427387"/>
                </a:cubicBezTo>
                <a:cubicBezTo>
                  <a:pt x="1493932" y="438303"/>
                  <a:pt x="1501473" y="447126"/>
                  <a:pt x="1511976" y="447126"/>
                </a:cubicBezTo>
                <a:cubicBezTo>
                  <a:pt x="1522508" y="447156"/>
                  <a:pt x="1530019" y="438333"/>
                  <a:pt x="1530019" y="427387"/>
                </a:cubicBezTo>
                <a:cubicBezTo>
                  <a:pt x="1530019" y="416440"/>
                  <a:pt x="1522478" y="407797"/>
                  <a:pt x="1511976" y="407797"/>
                </a:cubicBezTo>
                <a:close/>
                <a:moveTo>
                  <a:pt x="1181094" y="407797"/>
                </a:moveTo>
                <a:cubicBezTo>
                  <a:pt x="1170592" y="407797"/>
                  <a:pt x="1163051" y="416470"/>
                  <a:pt x="1163051" y="427387"/>
                </a:cubicBezTo>
                <a:cubicBezTo>
                  <a:pt x="1163051" y="438303"/>
                  <a:pt x="1170592" y="447126"/>
                  <a:pt x="1181094" y="447126"/>
                </a:cubicBezTo>
                <a:cubicBezTo>
                  <a:pt x="1191627" y="447156"/>
                  <a:pt x="1199137" y="438333"/>
                  <a:pt x="1199137" y="427387"/>
                </a:cubicBezTo>
                <a:cubicBezTo>
                  <a:pt x="1199137" y="416440"/>
                  <a:pt x="1191597" y="407797"/>
                  <a:pt x="1181094" y="407797"/>
                </a:cubicBezTo>
                <a:close/>
                <a:moveTo>
                  <a:pt x="1051680" y="407797"/>
                </a:moveTo>
                <a:cubicBezTo>
                  <a:pt x="1041177" y="407797"/>
                  <a:pt x="1033637" y="416470"/>
                  <a:pt x="1033637" y="427387"/>
                </a:cubicBezTo>
                <a:cubicBezTo>
                  <a:pt x="1033637" y="438303"/>
                  <a:pt x="1041177" y="447126"/>
                  <a:pt x="1051680" y="447126"/>
                </a:cubicBezTo>
                <a:cubicBezTo>
                  <a:pt x="1062183" y="447126"/>
                  <a:pt x="1069723" y="438333"/>
                  <a:pt x="1069723" y="427387"/>
                </a:cubicBezTo>
                <a:cubicBezTo>
                  <a:pt x="1069723" y="416440"/>
                  <a:pt x="1062183" y="407797"/>
                  <a:pt x="1051680" y="407797"/>
                </a:cubicBezTo>
                <a:close/>
                <a:moveTo>
                  <a:pt x="859459" y="407797"/>
                </a:moveTo>
                <a:cubicBezTo>
                  <a:pt x="848956" y="407797"/>
                  <a:pt x="841416" y="416470"/>
                  <a:pt x="841416" y="427387"/>
                </a:cubicBezTo>
                <a:cubicBezTo>
                  <a:pt x="841416" y="438303"/>
                  <a:pt x="848956" y="447126"/>
                  <a:pt x="859459" y="447126"/>
                </a:cubicBezTo>
                <a:cubicBezTo>
                  <a:pt x="869962" y="447156"/>
                  <a:pt x="877502" y="438333"/>
                  <a:pt x="877502" y="427387"/>
                </a:cubicBezTo>
                <a:cubicBezTo>
                  <a:pt x="877502" y="416440"/>
                  <a:pt x="869962" y="407797"/>
                  <a:pt x="859459" y="407797"/>
                </a:cubicBezTo>
                <a:close/>
                <a:moveTo>
                  <a:pt x="1432981" y="406242"/>
                </a:moveTo>
                <a:cubicBezTo>
                  <a:pt x="1424752" y="406242"/>
                  <a:pt x="1418797" y="411924"/>
                  <a:pt x="1416643" y="420149"/>
                </a:cubicBezTo>
                <a:lnTo>
                  <a:pt x="1449169" y="420149"/>
                </a:lnTo>
                <a:cubicBezTo>
                  <a:pt x="1447044" y="411057"/>
                  <a:pt x="1440940" y="406242"/>
                  <a:pt x="1432981" y="406242"/>
                </a:cubicBezTo>
                <a:close/>
                <a:moveTo>
                  <a:pt x="705000" y="406242"/>
                </a:moveTo>
                <a:cubicBezTo>
                  <a:pt x="696771" y="406242"/>
                  <a:pt x="690817" y="411924"/>
                  <a:pt x="688662" y="420149"/>
                </a:cubicBezTo>
                <a:lnTo>
                  <a:pt x="721188" y="420149"/>
                </a:lnTo>
                <a:cubicBezTo>
                  <a:pt x="719063" y="411057"/>
                  <a:pt x="712959" y="406242"/>
                  <a:pt x="705000" y="406242"/>
                </a:cubicBezTo>
                <a:close/>
                <a:moveTo>
                  <a:pt x="986749" y="393441"/>
                </a:moveTo>
                <a:lnTo>
                  <a:pt x="1004074" y="393441"/>
                </a:lnTo>
                <a:lnTo>
                  <a:pt x="1004074" y="434654"/>
                </a:lnTo>
                <a:lnTo>
                  <a:pt x="1004074" y="461482"/>
                </a:lnTo>
                <a:lnTo>
                  <a:pt x="986749" y="461482"/>
                </a:lnTo>
                <a:close/>
                <a:moveTo>
                  <a:pt x="904881" y="393441"/>
                </a:moveTo>
                <a:lnTo>
                  <a:pt x="923912" y="393441"/>
                </a:lnTo>
                <a:lnTo>
                  <a:pt x="941237" y="445989"/>
                </a:lnTo>
                <a:lnTo>
                  <a:pt x="958861" y="393441"/>
                </a:lnTo>
                <a:lnTo>
                  <a:pt x="976635" y="393441"/>
                </a:lnTo>
                <a:lnTo>
                  <a:pt x="952069" y="461482"/>
                </a:lnTo>
                <a:lnTo>
                  <a:pt x="929477" y="461482"/>
                </a:lnTo>
                <a:close/>
                <a:moveTo>
                  <a:pt x="1509133" y="391646"/>
                </a:moveTo>
                <a:cubicBezTo>
                  <a:pt x="1518379" y="391646"/>
                  <a:pt x="1525471" y="395774"/>
                  <a:pt x="1530019" y="402443"/>
                </a:cubicBezTo>
                <a:lnTo>
                  <a:pt x="1530019" y="393471"/>
                </a:lnTo>
                <a:lnTo>
                  <a:pt x="1547344" y="393471"/>
                </a:lnTo>
                <a:lnTo>
                  <a:pt x="1547344" y="461512"/>
                </a:lnTo>
                <a:lnTo>
                  <a:pt x="1530019" y="461512"/>
                </a:lnTo>
                <a:lnTo>
                  <a:pt x="1530019" y="451851"/>
                </a:lnTo>
                <a:cubicBezTo>
                  <a:pt x="1525471" y="458820"/>
                  <a:pt x="1518379" y="463366"/>
                  <a:pt x="1509133" y="463366"/>
                </a:cubicBezTo>
                <a:cubicBezTo>
                  <a:pt x="1491239" y="463366"/>
                  <a:pt x="1476607" y="448741"/>
                  <a:pt x="1476607" y="427446"/>
                </a:cubicBezTo>
                <a:cubicBezTo>
                  <a:pt x="1476607" y="406989"/>
                  <a:pt x="1490402" y="391646"/>
                  <a:pt x="1509133" y="391646"/>
                </a:cubicBezTo>
                <a:close/>
                <a:moveTo>
                  <a:pt x="1432681" y="391646"/>
                </a:moveTo>
                <a:cubicBezTo>
                  <a:pt x="1452161" y="391646"/>
                  <a:pt x="1467062" y="406571"/>
                  <a:pt x="1467062" y="426160"/>
                </a:cubicBezTo>
                <a:cubicBezTo>
                  <a:pt x="1467092" y="428403"/>
                  <a:pt x="1466942" y="431095"/>
                  <a:pt x="1466673" y="432232"/>
                </a:cubicBezTo>
                <a:lnTo>
                  <a:pt x="1416224" y="432232"/>
                </a:lnTo>
                <a:cubicBezTo>
                  <a:pt x="1418079" y="441593"/>
                  <a:pt x="1425171" y="448143"/>
                  <a:pt x="1435554" y="448143"/>
                </a:cubicBezTo>
                <a:cubicBezTo>
                  <a:pt x="1442526" y="448143"/>
                  <a:pt x="1448331" y="445152"/>
                  <a:pt x="1452310" y="441055"/>
                </a:cubicBezTo>
                <a:lnTo>
                  <a:pt x="1461257" y="452988"/>
                </a:lnTo>
                <a:cubicBezTo>
                  <a:pt x="1455991" y="458820"/>
                  <a:pt x="1446326" y="463366"/>
                  <a:pt x="1434955" y="463366"/>
                </a:cubicBezTo>
                <a:cubicBezTo>
                  <a:pt x="1413771" y="463366"/>
                  <a:pt x="1398450" y="447305"/>
                  <a:pt x="1398450" y="427446"/>
                </a:cubicBezTo>
                <a:cubicBezTo>
                  <a:pt x="1398450" y="407707"/>
                  <a:pt x="1413082" y="391646"/>
                  <a:pt x="1432681" y="391646"/>
                </a:cubicBezTo>
                <a:close/>
                <a:moveTo>
                  <a:pt x="1178252" y="391646"/>
                </a:moveTo>
                <a:cubicBezTo>
                  <a:pt x="1187498" y="391646"/>
                  <a:pt x="1194589" y="395774"/>
                  <a:pt x="1199137" y="402443"/>
                </a:cubicBezTo>
                <a:lnTo>
                  <a:pt x="1199137" y="393471"/>
                </a:lnTo>
                <a:lnTo>
                  <a:pt x="1216463" y="393471"/>
                </a:lnTo>
                <a:lnTo>
                  <a:pt x="1216463" y="461512"/>
                </a:lnTo>
                <a:lnTo>
                  <a:pt x="1199137" y="461512"/>
                </a:lnTo>
                <a:lnTo>
                  <a:pt x="1199137" y="451851"/>
                </a:lnTo>
                <a:cubicBezTo>
                  <a:pt x="1194589" y="458820"/>
                  <a:pt x="1187498" y="463366"/>
                  <a:pt x="1178252" y="463366"/>
                </a:cubicBezTo>
                <a:cubicBezTo>
                  <a:pt x="1160358" y="463366"/>
                  <a:pt x="1145726" y="448741"/>
                  <a:pt x="1145726" y="427446"/>
                </a:cubicBezTo>
                <a:cubicBezTo>
                  <a:pt x="1145726" y="406989"/>
                  <a:pt x="1159520" y="391646"/>
                  <a:pt x="1178252" y="391646"/>
                </a:cubicBezTo>
                <a:close/>
                <a:moveTo>
                  <a:pt x="856616" y="391646"/>
                </a:moveTo>
                <a:cubicBezTo>
                  <a:pt x="865862" y="391646"/>
                  <a:pt x="872954" y="395774"/>
                  <a:pt x="877502" y="402443"/>
                </a:cubicBezTo>
                <a:lnTo>
                  <a:pt x="877502" y="393471"/>
                </a:lnTo>
                <a:lnTo>
                  <a:pt x="894827" y="393471"/>
                </a:lnTo>
                <a:lnTo>
                  <a:pt x="894827" y="461512"/>
                </a:lnTo>
                <a:lnTo>
                  <a:pt x="877502" y="461512"/>
                </a:lnTo>
                <a:lnTo>
                  <a:pt x="877502" y="451851"/>
                </a:lnTo>
                <a:cubicBezTo>
                  <a:pt x="872954" y="458820"/>
                  <a:pt x="865862" y="463366"/>
                  <a:pt x="856616" y="463366"/>
                </a:cubicBezTo>
                <a:cubicBezTo>
                  <a:pt x="838723" y="463366"/>
                  <a:pt x="824091" y="448741"/>
                  <a:pt x="824091" y="427446"/>
                </a:cubicBezTo>
                <a:cubicBezTo>
                  <a:pt x="824091" y="406989"/>
                  <a:pt x="837885" y="391646"/>
                  <a:pt x="856616" y="391646"/>
                </a:cubicBezTo>
                <a:close/>
                <a:moveTo>
                  <a:pt x="704701" y="391646"/>
                </a:moveTo>
                <a:cubicBezTo>
                  <a:pt x="724180" y="391646"/>
                  <a:pt x="739081" y="406571"/>
                  <a:pt x="739081" y="426160"/>
                </a:cubicBezTo>
                <a:cubicBezTo>
                  <a:pt x="739111" y="428403"/>
                  <a:pt x="738962" y="431095"/>
                  <a:pt x="738692" y="432232"/>
                </a:cubicBezTo>
                <a:lnTo>
                  <a:pt x="688243" y="432232"/>
                </a:lnTo>
                <a:cubicBezTo>
                  <a:pt x="690099" y="441593"/>
                  <a:pt x="697190" y="448143"/>
                  <a:pt x="707573" y="448143"/>
                </a:cubicBezTo>
                <a:cubicBezTo>
                  <a:pt x="714545" y="448143"/>
                  <a:pt x="720350" y="445152"/>
                  <a:pt x="724330" y="441055"/>
                </a:cubicBezTo>
                <a:lnTo>
                  <a:pt x="733276" y="452988"/>
                </a:lnTo>
                <a:cubicBezTo>
                  <a:pt x="728010" y="458820"/>
                  <a:pt x="718345" y="463366"/>
                  <a:pt x="706975" y="463366"/>
                </a:cubicBezTo>
                <a:cubicBezTo>
                  <a:pt x="685790" y="463366"/>
                  <a:pt x="670469" y="447305"/>
                  <a:pt x="670469" y="427446"/>
                </a:cubicBezTo>
                <a:cubicBezTo>
                  <a:pt x="670469" y="407707"/>
                  <a:pt x="685102" y="391646"/>
                  <a:pt x="704701" y="391646"/>
                </a:cubicBezTo>
                <a:close/>
                <a:moveTo>
                  <a:pt x="1051680" y="391616"/>
                </a:moveTo>
                <a:cubicBezTo>
                  <a:pt x="1071429" y="391616"/>
                  <a:pt x="1087048" y="407677"/>
                  <a:pt x="1087048" y="427417"/>
                </a:cubicBezTo>
                <a:cubicBezTo>
                  <a:pt x="1087048" y="447305"/>
                  <a:pt x="1071429" y="463336"/>
                  <a:pt x="1051680" y="463336"/>
                </a:cubicBezTo>
                <a:cubicBezTo>
                  <a:pt x="1031931" y="463336"/>
                  <a:pt x="1016312" y="447276"/>
                  <a:pt x="1016312" y="427417"/>
                </a:cubicBezTo>
                <a:cubicBezTo>
                  <a:pt x="1016312" y="407647"/>
                  <a:pt x="1031931" y="391616"/>
                  <a:pt x="1051680" y="391616"/>
                </a:cubicBezTo>
                <a:close/>
                <a:moveTo>
                  <a:pt x="1133219" y="391587"/>
                </a:moveTo>
                <a:cubicBezTo>
                  <a:pt x="1137767" y="391616"/>
                  <a:pt x="1141477" y="392753"/>
                  <a:pt x="1144020" y="394876"/>
                </a:cubicBezTo>
                <a:lnTo>
                  <a:pt x="1136929" y="411206"/>
                </a:lnTo>
                <a:cubicBezTo>
                  <a:pt x="1134655" y="409502"/>
                  <a:pt x="1131244" y="408365"/>
                  <a:pt x="1127833" y="408365"/>
                </a:cubicBezTo>
                <a:cubicBezTo>
                  <a:pt x="1121010" y="408365"/>
                  <a:pt x="1116462" y="414197"/>
                  <a:pt x="1116462" y="423409"/>
                </a:cubicBezTo>
                <a:lnTo>
                  <a:pt x="1116462" y="461482"/>
                </a:lnTo>
                <a:lnTo>
                  <a:pt x="1099137" y="461482"/>
                </a:lnTo>
                <a:lnTo>
                  <a:pt x="1099137" y="393441"/>
                </a:lnTo>
                <a:lnTo>
                  <a:pt x="1116462" y="393441"/>
                </a:lnTo>
                <a:lnTo>
                  <a:pt x="1116462" y="403520"/>
                </a:lnTo>
                <a:cubicBezTo>
                  <a:pt x="1119724" y="396282"/>
                  <a:pt x="1125558" y="391587"/>
                  <a:pt x="1133219" y="391587"/>
                </a:cubicBezTo>
                <a:close/>
                <a:moveTo>
                  <a:pt x="609398" y="386173"/>
                </a:moveTo>
                <a:lnTo>
                  <a:pt x="609398" y="386203"/>
                </a:lnTo>
                <a:lnTo>
                  <a:pt x="609398" y="408066"/>
                </a:lnTo>
                <a:lnTo>
                  <a:pt x="626603" y="408066"/>
                </a:lnTo>
                <a:cubicBezTo>
                  <a:pt x="634413" y="408066"/>
                  <a:pt x="639829" y="403520"/>
                  <a:pt x="639829" y="397120"/>
                </a:cubicBezTo>
                <a:cubicBezTo>
                  <a:pt x="639829" y="390719"/>
                  <a:pt x="634293" y="386173"/>
                  <a:pt x="626603" y="386173"/>
                </a:cubicBezTo>
                <a:close/>
                <a:moveTo>
                  <a:pt x="1608595" y="375855"/>
                </a:moveTo>
                <a:lnTo>
                  <a:pt x="1626069" y="375855"/>
                </a:lnTo>
                <a:lnTo>
                  <a:pt x="1626069" y="393471"/>
                </a:lnTo>
                <a:lnTo>
                  <a:pt x="1644412" y="393471"/>
                </a:lnTo>
                <a:lnTo>
                  <a:pt x="1644412" y="408814"/>
                </a:lnTo>
                <a:lnTo>
                  <a:pt x="1626219" y="408814"/>
                </a:lnTo>
                <a:lnTo>
                  <a:pt x="1626219" y="437795"/>
                </a:lnTo>
                <a:cubicBezTo>
                  <a:pt x="1626219" y="444195"/>
                  <a:pt x="1628763" y="447156"/>
                  <a:pt x="1633879" y="447156"/>
                </a:cubicBezTo>
                <a:cubicBezTo>
                  <a:pt x="1637141" y="447156"/>
                  <a:pt x="1640283" y="445720"/>
                  <a:pt x="1641988" y="443746"/>
                </a:cubicBezTo>
                <a:lnTo>
                  <a:pt x="1649648" y="456667"/>
                </a:lnTo>
                <a:cubicBezTo>
                  <a:pt x="1645968" y="460345"/>
                  <a:pt x="1639564" y="463336"/>
                  <a:pt x="1631186" y="463336"/>
                </a:cubicBezTo>
                <a:cubicBezTo>
                  <a:pt x="1617392" y="463336"/>
                  <a:pt x="1608595" y="454812"/>
                  <a:pt x="1608595" y="438213"/>
                </a:cubicBezTo>
                <a:lnTo>
                  <a:pt x="1608595" y="408814"/>
                </a:lnTo>
                <a:lnTo>
                  <a:pt x="1596656" y="408814"/>
                </a:lnTo>
                <a:lnTo>
                  <a:pt x="1596656" y="393471"/>
                </a:lnTo>
                <a:lnTo>
                  <a:pt x="1608595" y="393471"/>
                </a:lnTo>
                <a:close/>
                <a:moveTo>
                  <a:pt x="591654" y="370591"/>
                </a:moveTo>
                <a:lnTo>
                  <a:pt x="591804" y="370591"/>
                </a:lnTo>
                <a:cubicBezTo>
                  <a:pt x="592103" y="370591"/>
                  <a:pt x="609428" y="370591"/>
                  <a:pt x="609428" y="370591"/>
                </a:cubicBezTo>
                <a:lnTo>
                  <a:pt x="628339" y="370591"/>
                </a:lnTo>
                <a:cubicBezTo>
                  <a:pt x="645395" y="370591"/>
                  <a:pt x="658321" y="380969"/>
                  <a:pt x="658321" y="395714"/>
                </a:cubicBezTo>
                <a:cubicBezTo>
                  <a:pt x="658321" y="406361"/>
                  <a:pt x="650930" y="412193"/>
                  <a:pt x="644826" y="414735"/>
                </a:cubicBezTo>
                <a:cubicBezTo>
                  <a:pt x="653743" y="417457"/>
                  <a:pt x="660834" y="424545"/>
                  <a:pt x="660834" y="435910"/>
                </a:cubicBezTo>
                <a:cubicBezTo>
                  <a:pt x="660834" y="449549"/>
                  <a:pt x="650182" y="461482"/>
                  <a:pt x="630433" y="461482"/>
                </a:cubicBezTo>
                <a:lnTo>
                  <a:pt x="591654" y="461482"/>
                </a:lnTo>
                <a:close/>
                <a:moveTo>
                  <a:pt x="1306678" y="370442"/>
                </a:moveTo>
                <a:lnTo>
                  <a:pt x="1324452" y="370442"/>
                </a:lnTo>
                <a:lnTo>
                  <a:pt x="1324452" y="406660"/>
                </a:lnTo>
                <a:lnTo>
                  <a:pt x="1367929" y="406660"/>
                </a:lnTo>
                <a:lnTo>
                  <a:pt x="1367929" y="370442"/>
                </a:lnTo>
                <a:lnTo>
                  <a:pt x="1385703" y="370442"/>
                </a:lnTo>
                <a:lnTo>
                  <a:pt x="1385703" y="461482"/>
                </a:lnTo>
                <a:lnTo>
                  <a:pt x="1367929" y="461482"/>
                </a:lnTo>
                <a:lnTo>
                  <a:pt x="1367929" y="423289"/>
                </a:lnTo>
                <a:lnTo>
                  <a:pt x="1324452" y="423289"/>
                </a:lnTo>
                <a:lnTo>
                  <a:pt x="1324452" y="461482"/>
                </a:lnTo>
                <a:lnTo>
                  <a:pt x="1306678" y="461482"/>
                </a:lnTo>
                <a:close/>
                <a:moveTo>
                  <a:pt x="995426" y="364071"/>
                </a:moveTo>
                <a:cubicBezTo>
                  <a:pt x="1000962" y="364071"/>
                  <a:pt x="1005660" y="368617"/>
                  <a:pt x="1005660" y="374150"/>
                </a:cubicBezTo>
                <a:cubicBezTo>
                  <a:pt x="1005660" y="379833"/>
                  <a:pt x="1000962" y="384379"/>
                  <a:pt x="995426" y="384379"/>
                </a:cubicBezTo>
                <a:cubicBezTo>
                  <a:pt x="989741" y="384379"/>
                  <a:pt x="985342" y="379833"/>
                  <a:pt x="985342" y="374150"/>
                </a:cubicBezTo>
                <a:cubicBezTo>
                  <a:pt x="985342" y="368617"/>
                  <a:pt x="989741" y="364071"/>
                  <a:pt x="995426" y="364071"/>
                </a:cubicBezTo>
                <a:close/>
                <a:moveTo>
                  <a:pt x="1563831" y="363802"/>
                </a:moveTo>
                <a:lnTo>
                  <a:pt x="1581156" y="363802"/>
                </a:lnTo>
                <a:lnTo>
                  <a:pt x="1581156" y="439918"/>
                </a:lnTo>
                <a:cubicBezTo>
                  <a:pt x="1581156" y="445182"/>
                  <a:pt x="1584148" y="447156"/>
                  <a:pt x="1587260" y="447156"/>
                </a:cubicBezTo>
                <a:cubicBezTo>
                  <a:pt x="1588128" y="447156"/>
                  <a:pt x="1589265" y="446857"/>
                  <a:pt x="1590103" y="446438"/>
                </a:cubicBezTo>
                <a:lnTo>
                  <a:pt x="1591958" y="461631"/>
                </a:lnTo>
                <a:cubicBezTo>
                  <a:pt x="1589415" y="462499"/>
                  <a:pt x="1586123" y="463067"/>
                  <a:pt x="1583580" y="463067"/>
                </a:cubicBezTo>
                <a:cubicBezTo>
                  <a:pt x="1573765" y="463067"/>
                  <a:pt x="1563831" y="456816"/>
                  <a:pt x="1563831" y="439499"/>
                </a:cubicBezTo>
                <a:close/>
                <a:moveTo>
                  <a:pt x="1232950" y="363802"/>
                </a:moveTo>
                <a:lnTo>
                  <a:pt x="1250275" y="363802"/>
                </a:lnTo>
                <a:lnTo>
                  <a:pt x="1250275" y="439918"/>
                </a:lnTo>
                <a:cubicBezTo>
                  <a:pt x="1250275" y="445182"/>
                  <a:pt x="1253267" y="447156"/>
                  <a:pt x="1256379" y="447156"/>
                </a:cubicBezTo>
                <a:cubicBezTo>
                  <a:pt x="1257247" y="447156"/>
                  <a:pt x="1258384" y="446857"/>
                  <a:pt x="1259222" y="446438"/>
                </a:cubicBezTo>
                <a:lnTo>
                  <a:pt x="1261077" y="461631"/>
                </a:lnTo>
                <a:cubicBezTo>
                  <a:pt x="1258533" y="462499"/>
                  <a:pt x="1255242" y="463067"/>
                  <a:pt x="1252698" y="463067"/>
                </a:cubicBezTo>
                <a:cubicBezTo>
                  <a:pt x="1242884" y="463067"/>
                  <a:pt x="1232950" y="456816"/>
                  <a:pt x="1232950" y="439499"/>
                </a:cubicBezTo>
                <a:close/>
                <a:moveTo>
                  <a:pt x="1661168" y="363772"/>
                </a:moveTo>
                <a:lnTo>
                  <a:pt x="1678494" y="363772"/>
                </a:lnTo>
                <a:lnTo>
                  <a:pt x="1678494" y="403101"/>
                </a:lnTo>
                <a:cubicBezTo>
                  <a:pt x="1682054" y="395863"/>
                  <a:pt x="1688876" y="391587"/>
                  <a:pt x="1697823" y="391587"/>
                </a:cubicBezTo>
                <a:cubicBezTo>
                  <a:pt x="1713443" y="391616"/>
                  <a:pt x="1723527" y="402533"/>
                  <a:pt x="1723527" y="420298"/>
                </a:cubicBezTo>
                <a:lnTo>
                  <a:pt x="1723527" y="461482"/>
                </a:lnTo>
                <a:lnTo>
                  <a:pt x="1706202" y="461482"/>
                </a:lnTo>
                <a:lnTo>
                  <a:pt x="1706202" y="422841"/>
                </a:lnTo>
                <a:cubicBezTo>
                  <a:pt x="1706202" y="413599"/>
                  <a:pt x="1700935" y="407797"/>
                  <a:pt x="1692407" y="407797"/>
                </a:cubicBezTo>
                <a:cubicBezTo>
                  <a:pt x="1683880" y="407797"/>
                  <a:pt x="1678494" y="413629"/>
                  <a:pt x="1678494" y="422841"/>
                </a:cubicBezTo>
                <a:lnTo>
                  <a:pt x="1678494" y="461482"/>
                </a:lnTo>
                <a:lnTo>
                  <a:pt x="1661168" y="461482"/>
                </a:lnTo>
                <a:close/>
                <a:moveTo>
                  <a:pt x="750213" y="363772"/>
                </a:moveTo>
                <a:lnTo>
                  <a:pt x="767538" y="363772"/>
                </a:lnTo>
                <a:lnTo>
                  <a:pt x="767538" y="403101"/>
                </a:lnTo>
                <a:cubicBezTo>
                  <a:pt x="771098" y="395863"/>
                  <a:pt x="777921" y="391587"/>
                  <a:pt x="786867" y="391587"/>
                </a:cubicBezTo>
                <a:cubicBezTo>
                  <a:pt x="802487" y="391616"/>
                  <a:pt x="812571" y="402533"/>
                  <a:pt x="812571" y="420298"/>
                </a:cubicBezTo>
                <a:lnTo>
                  <a:pt x="812571" y="461482"/>
                </a:lnTo>
                <a:lnTo>
                  <a:pt x="795246" y="461482"/>
                </a:lnTo>
                <a:lnTo>
                  <a:pt x="795246" y="422841"/>
                </a:lnTo>
                <a:cubicBezTo>
                  <a:pt x="795246" y="413599"/>
                  <a:pt x="789979" y="407797"/>
                  <a:pt x="781451" y="407797"/>
                </a:cubicBezTo>
                <a:cubicBezTo>
                  <a:pt x="772924" y="407797"/>
                  <a:pt x="767538" y="413629"/>
                  <a:pt x="767538" y="422841"/>
                </a:cubicBezTo>
                <a:lnTo>
                  <a:pt x="767538" y="461482"/>
                </a:lnTo>
                <a:lnTo>
                  <a:pt x="750213" y="461482"/>
                </a:lnTo>
                <a:close/>
                <a:moveTo>
                  <a:pt x="1760720" y="269382"/>
                </a:moveTo>
                <a:lnTo>
                  <a:pt x="1764580" y="269382"/>
                </a:lnTo>
                <a:lnTo>
                  <a:pt x="1773138" y="282960"/>
                </a:lnTo>
                <a:lnTo>
                  <a:pt x="1781666" y="269382"/>
                </a:lnTo>
                <a:lnTo>
                  <a:pt x="1785077" y="269382"/>
                </a:lnTo>
                <a:lnTo>
                  <a:pt x="1785077" y="293099"/>
                </a:lnTo>
                <a:lnTo>
                  <a:pt x="1781756" y="293099"/>
                </a:lnTo>
                <a:lnTo>
                  <a:pt x="1781756" y="274705"/>
                </a:lnTo>
                <a:lnTo>
                  <a:pt x="1772929" y="288433"/>
                </a:lnTo>
                <a:lnTo>
                  <a:pt x="1764042" y="274705"/>
                </a:lnTo>
                <a:lnTo>
                  <a:pt x="1764042" y="293099"/>
                </a:lnTo>
                <a:lnTo>
                  <a:pt x="1760720" y="293099"/>
                </a:lnTo>
                <a:close/>
                <a:moveTo>
                  <a:pt x="1748452" y="268963"/>
                </a:moveTo>
                <a:cubicBezTo>
                  <a:pt x="1752163" y="268963"/>
                  <a:pt x="1755155" y="270578"/>
                  <a:pt x="1756591" y="272642"/>
                </a:cubicBezTo>
                <a:lnTo>
                  <a:pt x="1754287" y="274885"/>
                </a:lnTo>
                <a:cubicBezTo>
                  <a:pt x="1753210" y="273359"/>
                  <a:pt x="1750966" y="272073"/>
                  <a:pt x="1748392" y="272073"/>
                </a:cubicBezTo>
                <a:cubicBezTo>
                  <a:pt x="1745550" y="272073"/>
                  <a:pt x="1743754" y="273330"/>
                  <a:pt x="1743754" y="275274"/>
                </a:cubicBezTo>
                <a:cubicBezTo>
                  <a:pt x="1743754" y="280508"/>
                  <a:pt x="1757010" y="278115"/>
                  <a:pt x="1757010" y="286549"/>
                </a:cubicBezTo>
                <a:cubicBezTo>
                  <a:pt x="1757010" y="290736"/>
                  <a:pt x="1753599" y="293547"/>
                  <a:pt x="1748303" y="293547"/>
                </a:cubicBezTo>
                <a:cubicBezTo>
                  <a:pt x="1743844" y="293547"/>
                  <a:pt x="1740972" y="291813"/>
                  <a:pt x="1739326" y="289510"/>
                </a:cubicBezTo>
                <a:lnTo>
                  <a:pt x="1741720" y="287267"/>
                </a:lnTo>
                <a:cubicBezTo>
                  <a:pt x="1743306" y="289330"/>
                  <a:pt x="1745610" y="290407"/>
                  <a:pt x="1748303" y="290407"/>
                </a:cubicBezTo>
                <a:cubicBezTo>
                  <a:pt x="1751564" y="290407"/>
                  <a:pt x="1753419" y="289001"/>
                  <a:pt x="1753419" y="286788"/>
                </a:cubicBezTo>
                <a:cubicBezTo>
                  <a:pt x="1753419" y="281016"/>
                  <a:pt x="1740164" y="283558"/>
                  <a:pt x="1740164" y="275393"/>
                </a:cubicBezTo>
                <a:cubicBezTo>
                  <a:pt x="1740164" y="271565"/>
                  <a:pt x="1743545" y="268963"/>
                  <a:pt x="1748452" y="268963"/>
                </a:cubicBezTo>
                <a:close/>
                <a:moveTo>
                  <a:pt x="1411587" y="134646"/>
                </a:moveTo>
                <a:cubicBezTo>
                  <a:pt x="1380557" y="134646"/>
                  <a:pt x="1357906" y="160217"/>
                  <a:pt x="1357906" y="192488"/>
                </a:cubicBezTo>
                <a:cubicBezTo>
                  <a:pt x="1357906" y="224759"/>
                  <a:pt x="1380557" y="250749"/>
                  <a:pt x="1411587" y="250749"/>
                </a:cubicBezTo>
                <a:cubicBezTo>
                  <a:pt x="1442197" y="250749"/>
                  <a:pt x="1464429" y="224759"/>
                  <a:pt x="1464429" y="192488"/>
                </a:cubicBezTo>
                <a:cubicBezTo>
                  <a:pt x="1464429" y="160217"/>
                  <a:pt x="1442197" y="134646"/>
                  <a:pt x="1411587" y="134646"/>
                </a:cubicBezTo>
                <a:close/>
                <a:moveTo>
                  <a:pt x="742014" y="134646"/>
                </a:moveTo>
                <a:cubicBezTo>
                  <a:pt x="710985" y="134646"/>
                  <a:pt x="688334" y="160217"/>
                  <a:pt x="688334" y="192488"/>
                </a:cubicBezTo>
                <a:cubicBezTo>
                  <a:pt x="688334" y="224759"/>
                  <a:pt x="710985" y="250749"/>
                  <a:pt x="742014" y="250749"/>
                </a:cubicBezTo>
                <a:cubicBezTo>
                  <a:pt x="772625" y="250749"/>
                  <a:pt x="794857" y="224759"/>
                  <a:pt x="794857" y="192488"/>
                </a:cubicBezTo>
                <a:cubicBezTo>
                  <a:pt x="794857" y="160217"/>
                  <a:pt x="772625" y="134646"/>
                  <a:pt x="742014" y="134646"/>
                </a:cubicBezTo>
                <a:close/>
                <a:moveTo>
                  <a:pt x="1110987" y="130070"/>
                </a:moveTo>
                <a:cubicBezTo>
                  <a:pt x="1085373" y="130040"/>
                  <a:pt x="1067779" y="147656"/>
                  <a:pt x="1061914" y="173227"/>
                </a:cubicBezTo>
                <a:lnTo>
                  <a:pt x="1158773" y="173227"/>
                </a:lnTo>
                <a:cubicBezTo>
                  <a:pt x="1152908" y="144725"/>
                  <a:pt x="1134865" y="130070"/>
                  <a:pt x="1110987" y="130070"/>
                </a:cubicBezTo>
                <a:close/>
                <a:moveTo>
                  <a:pt x="733636" y="86494"/>
                </a:moveTo>
                <a:cubicBezTo>
                  <a:pt x="760057" y="86494"/>
                  <a:pt x="780584" y="96124"/>
                  <a:pt x="794857" y="112484"/>
                </a:cubicBezTo>
                <a:lnTo>
                  <a:pt x="794857" y="92356"/>
                </a:lnTo>
                <a:lnTo>
                  <a:pt x="846443" y="92356"/>
                </a:lnTo>
                <a:lnTo>
                  <a:pt x="846443" y="293099"/>
                </a:lnTo>
                <a:lnTo>
                  <a:pt x="794857" y="293099"/>
                </a:lnTo>
                <a:lnTo>
                  <a:pt x="794857" y="271296"/>
                </a:lnTo>
                <a:cubicBezTo>
                  <a:pt x="780195" y="288493"/>
                  <a:pt x="759639" y="298961"/>
                  <a:pt x="733636" y="298961"/>
                </a:cubicBezTo>
                <a:cubicBezTo>
                  <a:pt x="680374" y="298961"/>
                  <a:pt x="637196" y="255385"/>
                  <a:pt x="637196" y="192937"/>
                </a:cubicBezTo>
                <a:cubicBezTo>
                  <a:pt x="637196" y="132164"/>
                  <a:pt x="677861" y="86494"/>
                  <a:pt x="733636" y="86494"/>
                </a:cubicBezTo>
                <a:close/>
                <a:moveTo>
                  <a:pt x="555628" y="86494"/>
                </a:moveTo>
                <a:cubicBezTo>
                  <a:pt x="590009" y="86494"/>
                  <a:pt x="617268" y="98218"/>
                  <a:pt x="634862" y="116671"/>
                </a:cubicBezTo>
                <a:lnTo>
                  <a:pt x="605509" y="153129"/>
                </a:lnTo>
                <a:cubicBezTo>
                  <a:pt x="592941" y="140957"/>
                  <a:pt x="577860" y="134676"/>
                  <a:pt x="558141" y="134676"/>
                </a:cubicBezTo>
                <a:cubicBezTo>
                  <a:pt x="524599" y="134676"/>
                  <a:pt x="501947" y="160247"/>
                  <a:pt x="501947" y="192518"/>
                </a:cubicBezTo>
                <a:cubicBezTo>
                  <a:pt x="501947" y="224789"/>
                  <a:pt x="525017" y="250779"/>
                  <a:pt x="557723" y="250779"/>
                </a:cubicBezTo>
                <a:cubicBezTo>
                  <a:pt x="578279" y="250779"/>
                  <a:pt x="594617" y="243661"/>
                  <a:pt x="607184" y="231070"/>
                </a:cubicBezTo>
                <a:lnTo>
                  <a:pt x="633187" y="268784"/>
                </a:lnTo>
                <a:cubicBezTo>
                  <a:pt x="617238" y="286370"/>
                  <a:pt x="588333" y="298961"/>
                  <a:pt x="556466" y="298961"/>
                </a:cubicBezTo>
                <a:cubicBezTo>
                  <a:pt x="496920" y="298961"/>
                  <a:pt x="450810" y="251198"/>
                  <a:pt x="450810" y="192937"/>
                </a:cubicBezTo>
                <a:cubicBezTo>
                  <a:pt x="450810" y="134257"/>
                  <a:pt x="496920" y="86494"/>
                  <a:pt x="555628" y="86494"/>
                </a:cubicBezTo>
                <a:close/>
                <a:moveTo>
                  <a:pt x="1647225" y="86464"/>
                </a:moveTo>
                <a:cubicBezTo>
                  <a:pt x="1693754" y="86464"/>
                  <a:pt x="1723527" y="119154"/>
                  <a:pt x="1723527" y="171553"/>
                </a:cubicBezTo>
                <a:lnTo>
                  <a:pt x="1723527" y="293099"/>
                </a:lnTo>
                <a:lnTo>
                  <a:pt x="1672360" y="293099"/>
                </a:lnTo>
                <a:lnTo>
                  <a:pt x="1672360" y="179089"/>
                </a:lnTo>
                <a:cubicBezTo>
                  <a:pt x="1672360" y="151843"/>
                  <a:pt x="1656411" y="134676"/>
                  <a:pt x="1631695" y="134676"/>
                </a:cubicBezTo>
                <a:cubicBezTo>
                  <a:pt x="1606112" y="134676"/>
                  <a:pt x="1590612" y="151843"/>
                  <a:pt x="1590612" y="179089"/>
                </a:cubicBezTo>
                <a:lnTo>
                  <a:pt x="1590612" y="293069"/>
                </a:lnTo>
                <a:lnTo>
                  <a:pt x="1539445" y="293069"/>
                </a:lnTo>
                <a:lnTo>
                  <a:pt x="1539445" y="92326"/>
                </a:lnTo>
                <a:lnTo>
                  <a:pt x="1590612" y="92326"/>
                </a:lnTo>
                <a:lnTo>
                  <a:pt x="1590612" y="112035"/>
                </a:lnTo>
                <a:cubicBezTo>
                  <a:pt x="1603179" y="95676"/>
                  <a:pt x="1622479" y="86464"/>
                  <a:pt x="1647225" y="86464"/>
                </a:cubicBezTo>
                <a:close/>
                <a:moveTo>
                  <a:pt x="1411168" y="86464"/>
                </a:moveTo>
                <a:cubicBezTo>
                  <a:pt x="1469456" y="86464"/>
                  <a:pt x="1515986" y="134227"/>
                  <a:pt x="1515986" y="192907"/>
                </a:cubicBezTo>
                <a:cubicBezTo>
                  <a:pt x="1515986" y="251168"/>
                  <a:pt x="1469456" y="298931"/>
                  <a:pt x="1411168" y="298931"/>
                </a:cubicBezTo>
                <a:cubicBezTo>
                  <a:pt x="1352879" y="298961"/>
                  <a:pt x="1306769" y="251168"/>
                  <a:pt x="1306769" y="192907"/>
                </a:cubicBezTo>
                <a:cubicBezTo>
                  <a:pt x="1306769" y="134227"/>
                  <a:pt x="1352879" y="86464"/>
                  <a:pt x="1411168" y="86464"/>
                </a:cubicBezTo>
                <a:close/>
                <a:moveTo>
                  <a:pt x="1110119" y="86464"/>
                </a:moveTo>
                <a:cubicBezTo>
                  <a:pt x="1167570" y="86464"/>
                  <a:pt x="1211167" y="130878"/>
                  <a:pt x="1211167" y="188720"/>
                </a:cubicBezTo>
                <a:cubicBezTo>
                  <a:pt x="1211167" y="195001"/>
                  <a:pt x="1210748" y="202119"/>
                  <a:pt x="1209910" y="205468"/>
                </a:cubicBezTo>
                <a:lnTo>
                  <a:pt x="1061046" y="205468"/>
                </a:lnTo>
                <a:cubicBezTo>
                  <a:pt x="1066073" y="233552"/>
                  <a:pt x="1087468" y="253680"/>
                  <a:pt x="1118497" y="253680"/>
                </a:cubicBezTo>
                <a:cubicBezTo>
                  <a:pt x="1138635" y="253680"/>
                  <a:pt x="1155810" y="244887"/>
                  <a:pt x="1167570" y="232715"/>
                </a:cubicBezTo>
                <a:lnTo>
                  <a:pt x="1193991" y="267498"/>
                </a:lnTo>
                <a:cubicBezTo>
                  <a:pt x="1178910" y="285084"/>
                  <a:pt x="1150394" y="298931"/>
                  <a:pt x="1116433" y="298931"/>
                </a:cubicBezTo>
                <a:cubicBezTo>
                  <a:pt x="1053925" y="298961"/>
                  <a:pt x="1008652" y="251168"/>
                  <a:pt x="1008652" y="192907"/>
                </a:cubicBezTo>
                <a:cubicBezTo>
                  <a:pt x="1008652" y="134227"/>
                  <a:pt x="1052249" y="86464"/>
                  <a:pt x="1110119" y="86464"/>
                </a:cubicBezTo>
                <a:close/>
                <a:moveTo>
                  <a:pt x="983518" y="86464"/>
                </a:moveTo>
                <a:cubicBezTo>
                  <a:pt x="996923" y="86464"/>
                  <a:pt x="1007844" y="90232"/>
                  <a:pt x="1015804" y="96513"/>
                </a:cubicBezTo>
                <a:lnTo>
                  <a:pt x="994409" y="145144"/>
                </a:lnTo>
                <a:cubicBezTo>
                  <a:pt x="987707" y="139700"/>
                  <a:pt x="977623" y="136351"/>
                  <a:pt x="967988" y="136351"/>
                </a:cubicBezTo>
                <a:cubicBezTo>
                  <a:pt x="947431" y="136351"/>
                  <a:pt x="934445" y="153548"/>
                  <a:pt x="934445" y="180764"/>
                </a:cubicBezTo>
                <a:lnTo>
                  <a:pt x="934445" y="293069"/>
                </a:lnTo>
                <a:lnTo>
                  <a:pt x="883278" y="293069"/>
                </a:lnTo>
                <a:lnTo>
                  <a:pt x="883278" y="92326"/>
                </a:lnTo>
                <a:lnTo>
                  <a:pt x="934445" y="92326"/>
                </a:lnTo>
                <a:lnTo>
                  <a:pt x="934445" y="114129"/>
                </a:lnTo>
                <a:cubicBezTo>
                  <a:pt x="945756" y="97351"/>
                  <a:pt x="962542" y="86464"/>
                  <a:pt x="983518" y="86464"/>
                </a:cubicBezTo>
                <a:close/>
                <a:moveTo>
                  <a:pt x="289840" y="38556"/>
                </a:moveTo>
                <a:cubicBezTo>
                  <a:pt x="268622" y="39645"/>
                  <a:pt x="249103" y="53154"/>
                  <a:pt x="241383" y="74352"/>
                </a:cubicBezTo>
                <a:cubicBezTo>
                  <a:pt x="235129" y="91489"/>
                  <a:pt x="238062" y="109763"/>
                  <a:pt x="247637" y="123760"/>
                </a:cubicBezTo>
                <a:lnTo>
                  <a:pt x="192849" y="146131"/>
                </a:lnTo>
                <a:lnTo>
                  <a:pt x="138151" y="123610"/>
                </a:lnTo>
                <a:cubicBezTo>
                  <a:pt x="140635" y="119962"/>
                  <a:pt x="142699" y="115924"/>
                  <a:pt x="144285" y="111587"/>
                </a:cubicBezTo>
                <a:lnTo>
                  <a:pt x="147574" y="93063"/>
                </a:lnTo>
                <a:lnTo>
                  <a:pt x="137965" y="62101"/>
                </a:lnTo>
                <a:cubicBezTo>
                  <a:pt x="131763" y="53072"/>
                  <a:pt x="122787" y="45819"/>
                  <a:pt x="111700" y="41782"/>
                </a:cubicBezTo>
                <a:cubicBezTo>
                  <a:pt x="104624" y="39210"/>
                  <a:pt x="97362" y="38193"/>
                  <a:pt x="90289" y="38556"/>
                </a:cubicBezTo>
                <a:cubicBezTo>
                  <a:pt x="69070" y="39645"/>
                  <a:pt x="49552" y="53154"/>
                  <a:pt x="41831" y="74352"/>
                </a:cubicBezTo>
                <a:cubicBezTo>
                  <a:pt x="31538" y="102645"/>
                  <a:pt x="46140" y="133899"/>
                  <a:pt x="74417" y="144187"/>
                </a:cubicBezTo>
                <a:cubicBezTo>
                  <a:pt x="91562" y="150438"/>
                  <a:pt x="109845" y="147507"/>
                  <a:pt x="123849" y="137936"/>
                </a:cubicBezTo>
                <a:lnTo>
                  <a:pt x="146231" y="192668"/>
                </a:lnTo>
                <a:lnTo>
                  <a:pt x="123699" y="247340"/>
                </a:lnTo>
                <a:cubicBezTo>
                  <a:pt x="120048" y="244858"/>
                  <a:pt x="116009" y="242794"/>
                  <a:pt x="111670" y="241209"/>
                </a:cubicBezTo>
                <a:cubicBezTo>
                  <a:pt x="105536" y="238996"/>
                  <a:pt x="99282" y="237919"/>
                  <a:pt x="93118" y="237919"/>
                </a:cubicBezTo>
                <a:lnTo>
                  <a:pt x="93128" y="237895"/>
                </a:lnTo>
                <a:lnTo>
                  <a:pt x="62160" y="247497"/>
                </a:lnTo>
                <a:cubicBezTo>
                  <a:pt x="53127" y="253696"/>
                  <a:pt x="45871" y="262668"/>
                  <a:pt x="41831" y="273749"/>
                </a:cubicBezTo>
                <a:cubicBezTo>
                  <a:pt x="31538" y="302042"/>
                  <a:pt x="46140" y="333296"/>
                  <a:pt x="74417" y="343584"/>
                </a:cubicBezTo>
                <a:cubicBezTo>
                  <a:pt x="102723" y="353872"/>
                  <a:pt x="133992" y="339277"/>
                  <a:pt x="144286" y="311014"/>
                </a:cubicBezTo>
                <a:cubicBezTo>
                  <a:pt x="150539" y="293877"/>
                  <a:pt x="147607" y="275603"/>
                  <a:pt x="138032" y="261606"/>
                </a:cubicBezTo>
                <a:lnTo>
                  <a:pt x="192820" y="239235"/>
                </a:lnTo>
                <a:lnTo>
                  <a:pt x="247458" y="261785"/>
                </a:lnTo>
                <a:cubicBezTo>
                  <a:pt x="244974" y="265434"/>
                  <a:pt x="242910" y="269472"/>
                  <a:pt x="241324" y="273808"/>
                </a:cubicBezTo>
                <a:lnTo>
                  <a:pt x="238035" y="292332"/>
                </a:lnTo>
                <a:lnTo>
                  <a:pt x="247644" y="323295"/>
                </a:lnTo>
                <a:cubicBezTo>
                  <a:pt x="253846" y="332324"/>
                  <a:pt x="262823" y="339577"/>
                  <a:pt x="273909" y="343614"/>
                </a:cubicBezTo>
                <a:cubicBezTo>
                  <a:pt x="302215" y="353902"/>
                  <a:pt x="333484" y="339307"/>
                  <a:pt x="343778" y="311044"/>
                </a:cubicBezTo>
                <a:cubicBezTo>
                  <a:pt x="354071" y="282751"/>
                  <a:pt x="339469" y="251497"/>
                  <a:pt x="311192" y="241208"/>
                </a:cubicBezTo>
                <a:cubicBezTo>
                  <a:pt x="294047" y="234958"/>
                  <a:pt x="275764" y="237889"/>
                  <a:pt x="261760" y="247459"/>
                </a:cubicBezTo>
                <a:lnTo>
                  <a:pt x="239379" y="192697"/>
                </a:lnTo>
                <a:lnTo>
                  <a:pt x="261940" y="138115"/>
                </a:lnTo>
                <a:cubicBezTo>
                  <a:pt x="265591" y="140597"/>
                  <a:pt x="269630" y="142661"/>
                  <a:pt x="273969" y="144246"/>
                </a:cubicBezTo>
                <a:lnTo>
                  <a:pt x="292497" y="147532"/>
                </a:lnTo>
                <a:lnTo>
                  <a:pt x="292520" y="147477"/>
                </a:lnTo>
                <a:cubicBezTo>
                  <a:pt x="314813" y="147507"/>
                  <a:pt x="335758" y="133779"/>
                  <a:pt x="343837" y="111617"/>
                </a:cubicBezTo>
                <a:cubicBezTo>
                  <a:pt x="354130" y="83324"/>
                  <a:pt x="339528" y="52070"/>
                  <a:pt x="311252" y="41782"/>
                </a:cubicBezTo>
                <a:cubicBezTo>
                  <a:pt x="304175" y="39210"/>
                  <a:pt x="296913" y="38193"/>
                  <a:pt x="289840" y="38556"/>
                </a:cubicBezTo>
                <a:close/>
                <a:moveTo>
                  <a:pt x="1232142" y="4755"/>
                </a:moveTo>
                <a:lnTo>
                  <a:pt x="1283310" y="4755"/>
                </a:lnTo>
                <a:lnTo>
                  <a:pt x="1283310" y="293099"/>
                </a:lnTo>
                <a:lnTo>
                  <a:pt x="1232142" y="293099"/>
                </a:lnTo>
                <a:lnTo>
                  <a:pt x="1232142" y="156868"/>
                </a:lnTo>
                <a:close/>
                <a:moveTo>
                  <a:pt x="93029" y="0"/>
                </a:moveTo>
                <a:cubicBezTo>
                  <a:pt x="144435" y="0"/>
                  <a:pt x="186087" y="41632"/>
                  <a:pt x="186087" y="92984"/>
                </a:cubicBezTo>
                <a:lnTo>
                  <a:pt x="184801" y="108375"/>
                </a:lnTo>
                <a:lnTo>
                  <a:pt x="192819" y="111677"/>
                </a:lnTo>
                <a:lnTo>
                  <a:pt x="200808" y="108387"/>
                </a:lnTo>
                <a:cubicBezTo>
                  <a:pt x="200000" y="103751"/>
                  <a:pt x="199552" y="97859"/>
                  <a:pt x="199552" y="92984"/>
                </a:cubicBezTo>
                <a:cubicBezTo>
                  <a:pt x="199552" y="41632"/>
                  <a:pt x="241204" y="0"/>
                  <a:pt x="292580" y="0"/>
                </a:cubicBezTo>
                <a:cubicBezTo>
                  <a:pt x="343957" y="0"/>
                  <a:pt x="385609" y="41632"/>
                  <a:pt x="385609" y="92984"/>
                </a:cubicBezTo>
                <a:cubicBezTo>
                  <a:pt x="385609" y="144337"/>
                  <a:pt x="343957" y="185969"/>
                  <a:pt x="292580" y="185969"/>
                </a:cubicBezTo>
                <a:lnTo>
                  <a:pt x="277196" y="184685"/>
                </a:lnTo>
                <a:lnTo>
                  <a:pt x="273879" y="192727"/>
                </a:lnTo>
                <a:lnTo>
                  <a:pt x="277170" y="200713"/>
                </a:lnTo>
                <a:cubicBezTo>
                  <a:pt x="281868" y="199875"/>
                  <a:pt x="287703" y="199427"/>
                  <a:pt x="292580" y="199427"/>
                </a:cubicBezTo>
                <a:cubicBezTo>
                  <a:pt x="343957" y="199427"/>
                  <a:pt x="385579" y="241059"/>
                  <a:pt x="385579" y="292411"/>
                </a:cubicBezTo>
                <a:cubicBezTo>
                  <a:pt x="385579" y="343763"/>
                  <a:pt x="343927" y="385395"/>
                  <a:pt x="292551" y="385395"/>
                </a:cubicBezTo>
                <a:cubicBezTo>
                  <a:pt x="241174" y="385395"/>
                  <a:pt x="199522" y="343763"/>
                  <a:pt x="199522" y="292411"/>
                </a:cubicBezTo>
                <a:lnTo>
                  <a:pt x="200808" y="277021"/>
                </a:lnTo>
                <a:lnTo>
                  <a:pt x="192790" y="273719"/>
                </a:lnTo>
                <a:lnTo>
                  <a:pt x="184770" y="277009"/>
                </a:lnTo>
                <a:cubicBezTo>
                  <a:pt x="185638" y="281913"/>
                  <a:pt x="186057" y="287536"/>
                  <a:pt x="186057" y="292411"/>
                </a:cubicBezTo>
                <a:cubicBezTo>
                  <a:pt x="186057" y="343763"/>
                  <a:pt x="144405" y="385396"/>
                  <a:pt x="93029" y="385396"/>
                </a:cubicBezTo>
                <a:cubicBezTo>
                  <a:pt x="41652" y="385396"/>
                  <a:pt x="0" y="343763"/>
                  <a:pt x="0" y="292411"/>
                </a:cubicBezTo>
                <a:cubicBezTo>
                  <a:pt x="0" y="241059"/>
                  <a:pt x="41652" y="199427"/>
                  <a:pt x="93058" y="199367"/>
                </a:cubicBezTo>
                <a:lnTo>
                  <a:pt x="108458" y="200682"/>
                </a:lnTo>
                <a:lnTo>
                  <a:pt x="111760" y="192668"/>
                </a:lnTo>
                <a:lnTo>
                  <a:pt x="108439" y="184713"/>
                </a:lnTo>
                <a:cubicBezTo>
                  <a:pt x="103801" y="185520"/>
                  <a:pt x="97906" y="185939"/>
                  <a:pt x="93029" y="185939"/>
                </a:cubicBezTo>
                <a:cubicBezTo>
                  <a:pt x="41652" y="185939"/>
                  <a:pt x="0" y="144337"/>
                  <a:pt x="0" y="92984"/>
                </a:cubicBezTo>
                <a:cubicBezTo>
                  <a:pt x="0" y="41632"/>
                  <a:pt x="41652" y="0"/>
                  <a:pt x="93029" y="0"/>
                </a:cubicBezTo>
                <a:close/>
              </a:path>
            </a:pathLst>
          </a:custGeom>
          <a:solidFill>
            <a:schemeClr val="bg1"/>
          </a:solidFill>
        </p:spPr>
        <p:txBody>
          <a:bodyPr wrap="square">
            <a:noAutofit/>
          </a:bodyPr>
          <a:lstStyle>
            <a:lvl1pPr>
              <a:defRPr sz="100">
                <a:solidFill>
                  <a:schemeClr val="tx2">
                    <a:alpha val="0"/>
                  </a:schemeClr>
                </a:solidFill>
              </a:defRPr>
            </a:lvl1pPr>
            <a:lvl2pPr>
              <a:defRPr sz="100">
                <a:solidFill>
                  <a:schemeClr val="tx2">
                    <a:alpha val="0"/>
                  </a:schemeClr>
                </a:solidFill>
              </a:defRPr>
            </a:lvl2pPr>
            <a:lvl3pPr>
              <a:defRPr sz="100">
                <a:solidFill>
                  <a:schemeClr val="tx2">
                    <a:alpha val="0"/>
                  </a:schemeClr>
                </a:solidFill>
              </a:defRPr>
            </a:lvl3pPr>
            <a:lvl4pPr>
              <a:defRPr sz="100">
                <a:solidFill>
                  <a:schemeClr val="tx2">
                    <a:alpha val="0"/>
                  </a:schemeClr>
                </a:solidFill>
              </a:defRPr>
            </a:lvl4pPr>
            <a:lvl5pPr>
              <a:defRPr sz="100">
                <a:solidFill>
                  <a:schemeClr val="tx2">
                    <a:alpha val="0"/>
                  </a:schemeClr>
                </a:solidFill>
              </a:defRPr>
            </a:lvl5pPr>
          </a:lstStyle>
          <a:p>
            <a:pPr lvl="0"/>
            <a:endParaRPr lang="en-US" dirty="0"/>
          </a:p>
        </p:txBody>
      </p:sp>
    </p:spTree>
    <p:extLst>
      <p:ext uri="{BB962C8B-B14F-4D97-AF65-F5344CB8AC3E}">
        <p14:creationId xmlns:p14="http://schemas.microsoft.com/office/powerpoint/2010/main" val="199273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prstGeom prst="rect">
            <a:avLst/>
          </a:prstGeom>
          <a:solidFill>
            <a:schemeClr val="bg1">
              <a:lumMod val="95000"/>
            </a:schemeClr>
          </a:solidFill>
        </p:spPr>
        <p:txBody>
          <a:bodyPr/>
          <a:lstStyle>
            <a:lvl1pPr marL="0" indent="0">
              <a:buNone/>
              <a:defRPr sz="1200"/>
            </a:lvl1pPr>
          </a:lstStyle>
          <a:p>
            <a:r>
              <a:rPr lang="en-US"/>
              <a:t>Click icon to add picture</a:t>
            </a:r>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dirty="0"/>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368036"/>
            <a:ext cx="5638800" cy="228600"/>
          </a:xfrm>
          <a:prstGeom prst="rect">
            <a:avLst/>
          </a:prstGeo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596636"/>
            <a:ext cx="5638800" cy="224536"/>
          </a:xfrm>
          <a:prstGeom prst="rect">
            <a:avLst/>
          </a:prstGeom>
        </p:spPr>
        <p:txBody>
          <a:bodyPr/>
          <a:lstStyle>
            <a:lvl1pPr marL="0" indent="0">
              <a:lnSpc>
                <a:spcPct val="100000"/>
              </a:lnSpc>
              <a:buNone/>
              <a:defRPr sz="1800" b="0" i="0">
                <a:latin typeface="+mn-lt"/>
              </a:defRPr>
            </a:lvl1pPr>
          </a:lstStyle>
          <a:p>
            <a:pPr lvl="0"/>
            <a:r>
              <a:rPr lang="en-US" dirty="0"/>
              <a:t>Click to add date</a:t>
            </a:r>
          </a:p>
        </p:txBody>
      </p:sp>
      <p:pic>
        <p:nvPicPr>
          <p:cNvPr id="3" name="Graphic 2">
            <a:extLst>
              <a:ext uri="{FF2B5EF4-FFF2-40B4-BE49-F238E27FC236}">
                <a16:creationId xmlns:a16="http://schemas.microsoft.com/office/drawing/2014/main" id="{CA196062-4E15-E6FF-72DA-92BF926F893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6061" y="6156161"/>
            <a:ext cx="1786364" cy="463576"/>
          </a:xfrm>
          <a:prstGeom prst="rect">
            <a:avLst/>
          </a:prstGeom>
        </p:spPr>
      </p:pic>
    </p:spTree>
    <p:extLst>
      <p:ext uri="{BB962C8B-B14F-4D97-AF65-F5344CB8AC3E}">
        <p14:creationId xmlns:p14="http://schemas.microsoft.com/office/powerpoint/2010/main" val="4159047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ul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211015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975EBB8B-1207-DF46-B0BB-2ECF56904B51}"/>
              </a:ext>
            </a:extLst>
          </p:cNvPr>
          <p:cNvSpPr>
            <a:spLocks noGrp="1"/>
          </p:cNvSpPr>
          <p:nvPr>
            <p:ph type="pic" sz="quarter" idx="10"/>
          </p:nvPr>
        </p:nvSpPr>
        <p:spPr>
          <a:xfrm>
            <a:off x="0" y="0"/>
            <a:ext cx="12192000" cy="6858000"/>
          </a:xfrm>
          <a:solidFill>
            <a:schemeClr val="bg1">
              <a:lumMod val="95000"/>
            </a:schemeClr>
          </a:solidFill>
        </p:spPr>
        <p:txBody>
          <a:bodyPr/>
          <a:lstStyle>
            <a:lvl1pPr marL="0" indent="0">
              <a:buNone/>
              <a:defRPr sz="1200"/>
            </a:lvl1pPr>
          </a:lstStyle>
          <a:p>
            <a:r>
              <a:rPr lang="en-US"/>
              <a:t>Click icon to add picture</a:t>
            </a:r>
            <a:endParaRPr lang="en-US" dirty="0"/>
          </a:p>
        </p:txBody>
      </p:sp>
      <p:sp>
        <p:nvSpPr>
          <p:cNvPr id="2" name="Title 1">
            <a:extLst>
              <a:ext uri="{FF2B5EF4-FFF2-40B4-BE49-F238E27FC236}">
                <a16:creationId xmlns:a16="http://schemas.microsoft.com/office/drawing/2014/main" id="{02C05AC6-9FBA-434E-BB3D-C7EE786774D4}"/>
              </a:ext>
            </a:extLst>
          </p:cNvPr>
          <p:cNvSpPr>
            <a:spLocks noGrp="1"/>
          </p:cNvSpPr>
          <p:nvPr>
            <p:ph type="ctrTitle" hasCustomPrompt="1"/>
          </p:nvPr>
        </p:nvSpPr>
        <p:spPr>
          <a:xfrm>
            <a:off x="415089" y="2635703"/>
            <a:ext cx="8349499" cy="1548385"/>
          </a:xfrm>
        </p:spPr>
        <p:txBody>
          <a:bodyPr vert="horz" anchor="b" anchorCtr="0"/>
          <a:lstStyle>
            <a:lvl1pPr algn="l">
              <a:defRPr sz="5200">
                <a:solidFill>
                  <a:schemeClr val="bg1"/>
                </a:solidFill>
              </a:defRPr>
            </a:lvl1pPr>
          </a:lstStyle>
          <a:p>
            <a:r>
              <a:rPr lang="en-US" dirty="0"/>
              <a:t>Click to add  </a:t>
            </a:r>
            <a:br>
              <a:rPr lang="en-US" dirty="0"/>
            </a:br>
            <a:r>
              <a:rPr lang="en-US" dirty="0"/>
              <a:t>presentation title</a:t>
            </a:r>
          </a:p>
        </p:txBody>
      </p:sp>
      <p:sp>
        <p:nvSpPr>
          <p:cNvPr id="7" name="Text Placeholder 11">
            <a:extLst>
              <a:ext uri="{FF2B5EF4-FFF2-40B4-BE49-F238E27FC236}">
                <a16:creationId xmlns:a16="http://schemas.microsoft.com/office/drawing/2014/main" id="{888294A5-A4D0-A14B-A725-86332813F126}"/>
              </a:ext>
            </a:extLst>
          </p:cNvPr>
          <p:cNvSpPr>
            <a:spLocks noGrp="1"/>
          </p:cNvSpPr>
          <p:nvPr>
            <p:ph type="body" sz="quarter" idx="11" hasCustomPrompt="1"/>
          </p:nvPr>
        </p:nvSpPr>
        <p:spPr>
          <a:xfrm>
            <a:off x="415089" y="4758997"/>
            <a:ext cx="5638800" cy="224536"/>
          </a:xfrm>
        </p:spPr>
        <p:txBody>
          <a:bodyPr vert="horz" lIns="0" tIns="0" rIns="0" bIns="0" rtlCol="0">
            <a:noAutofit/>
          </a:bodyPr>
          <a:lstStyle>
            <a:lvl1pPr>
              <a:defRPr lang="en-US" sz="1800" i="1" dirty="0">
                <a:solidFill>
                  <a:schemeClr val="bg1"/>
                </a:solidFill>
                <a:latin typeface="Elevance Sans Italic" pitchFamily="2" charset="0"/>
              </a:defRPr>
            </a:lvl1pPr>
          </a:lstStyle>
          <a:p>
            <a:pPr lvl="0"/>
            <a:r>
              <a:rPr lang="en-US" dirty="0"/>
              <a:t>Click to add date</a:t>
            </a:r>
          </a:p>
        </p:txBody>
      </p:sp>
      <p:sp>
        <p:nvSpPr>
          <p:cNvPr id="9" name="Subtitle 2">
            <a:extLst>
              <a:ext uri="{FF2B5EF4-FFF2-40B4-BE49-F238E27FC236}">
                <a16:creationId xmlns:a16="http://schemas.microsoft.com/office/drawing/2014/main" id="{5483F015-5D8D-2240-9F46-EE2695B6E53C}"/>
              </a:ext>
            </a:extLst>
          </p:cNvPr>
          <p:cNvSpPr>
            <a:spLocks noGrp="1"/>
          </p:cNvSpPr>
          <p:nvPr>
            <p:ph type="subTitle" idx="1" hasCustomPrompt="1"/>
          </p:nvPr>
        </p:nvSpPr>
        <p:spPr>
          <a:xfrm>
            <a:off x="415089" y="4517136"/>
            <a:ext cx="5638800" cy="228600"/>
          </a:xfrm>
        </p:spPr>
        <p:txBody>
          <a:bodyPr/>
          <a:lstStyle>
            <a:lvl1pPr marL="0" indent="0" algn="l">
              <a:buNone/>
              <a:defRPr sz="1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8" name="Text Placeholder 7">
            <a:extLst>
              <a:ext uri="{FF2B5EF4-FFF2-40B4-BE49-F238E27FC236}">
                <a16:creationId xmlns:a16="http://schemas.microsoft.com/office/drawing/2014/main" id="{CB2B735F-56B4-2B65-976E-1B0F30712396}"/>
              </a:ext>
            </a:extLst>
          </p:cNvPr>
          <p:cNvSpPr>
            <a:spLocks noGrp="1"/>
          </p:cNvSpPr>
          <p:nvPr>
            <p:ph type="body" sz="quarter" idx="14"/>
          </p:nvPr>
        </p:nvSpPr>
        <p:spPr>
          <a:xfrm>
            <a:off x="9996061" y="578755"/>
            <a:ext cx="1785077" cy="463366"/>
          </a:xfrm>
          <a:custGeom>
            <a:avLst/>
            <a:gdLst>
              <a:gd name="connsiteX0" fmla="*/ 609398 w 1785077"/>
              <a:gd name="connsiteY0" fmla="*/ 422691 h 463366"/>
              <a:gd name="connsiteX1" fmla="*/ 609398 w 1785077"/>
              <a:gd name="connsiteY1" fmla="*/ 445690 h 463366"/>
              <a:gd name="connsiteX2" fmla="*/ 628578 w 1785077"/>
              <a:gd name="connsiteY2" fmla="*/ 445690 h 463366"/>
              <a:gd name="connsiteX3" fmla="*/ 628578 w 1785077"/>
              <a:gd name="connsiteY3" fmla="*/ 445720 h 463366"/>
              <a:gd name="connsiteX4" fmla="*/ 642372 w 1785077"/>
              <a:gd name="connsiteY4" fmla="*/ 434206 h 463366"/>
              <a:gd name="connsiteX5" fmla="*/ 628578 w 1785077"/>
              <a:gd name="connsiteY5" fmla="*/ 422691 h 463366"/>
              <a:gd name="connsiteX6" fmla="*/ 1511976 w 1785077"/>
              <a:gd name="connsiteY6" fmla="*/ 407797 h 463366"/>
              <a:gd name="connsiteX7" fmla="*/ 1493932 w 1785077"/>
              <a:gd name="connsiteY7" fmla="*/ 427387 h 463366"/>
              <a:gd name="connsiteX8" fmla="*/ 1511976 w 1785077"/>
              <a:gd name="connsiteY8" fmla="*/ 447126 h 463366"/>
              <a:gd name="connsiteX9" fmla="*/ 1530019 w 1785077"/>
              <a:gd name="connsiteY9" fmla="*/ 427387 h 463366"/>
              <a:gd name="connsiteX10" fmla="*/ 1511976 w 1785077"/>
              <a:gd name="connsiteY10" fmla="*/ 407797 h 463366"/>
              <a:gd name="connsiteX11" fmla="*/ 1181094 w 1785077"/>
              <a:gd name="connsiteY11" fmla="*/ 407797 h 463366"/>
              <a:gd name="connsiteX12" fmla="*/ 1163051 w 1785077"/>
              <a:gd name="connsiteY12" fmla="*/ 427387 h 463366"/>
              <a:gd name="connsiteX13" fmla="*/ 1181094 w 1785077"/>
              <a:gd name="connsiteY13" fmla="*/ 447126 h 463366"/>
              <a:gd name="connsiteX14" fmla="*/ 1199137 w 1785077"/>
              <a:gd name="connsiteY14" fmla="*/ 427387 h 463366"/>
              <a:gd name="connsiteX15" fmla="*/ 1181094 w 1785077"/>
              <a:gd name="connsiteY15" fmla="*/ 407797 h 463366"/>
              <a:gd name="connsiteX16" fmla="*/ 1051680 w 1785077"/>
              <a:gd name="connsiteY16" fmla="*/ 407797 h 463366"/>
              <a:gd name="connsiteX17" fmla="*/ 1033637 w 1785077"/>
              <a:gd name="connsiteY17" fmla="*/ 427387 h 463366"/>
              <a:gd name="connsiteX18" fmla="*/ 1051680 w 1785077"/>
              <a:gd name="connsiteY18" fmla="*/ 447126 h 463366"/>
              <a:gd name="connsiteX19" fmla="*/ 1069723 w 1785077"/>
              <a:gd name="connsiteY19" fmla="*/ 427387 h 463366"/>
              <a:gd name="connsiteX20" fmla="*/ 1051680 w 1785077"/>
              <a:gd name="connsiteY20" fmla="*/ 407797 h 463366"/>
              <a:gd name="connsiteX21" fmla="*/ 859459 w 1785077"/>
              <a:gd name="connsiteY21" fmla="*/ 407797 h 463366"/>
              <a:gd name="connsiteX22" fmla="*/ 841416 w 1785077"/>
              <a:gd name="connsiteY22" fmla="*/ 427387 h 463366"/>
              <a:gd name="connsiteX23" fmla="*/ 859459 w 1785077"/>
              <a:gd name="connsiteY23" fmla="*/ 447126 h 463366"/>
              <a:gd name="connsiteX24" fmla="*/ 877502 w 1785077"/>
              <a:gd name="connsiteY24" fmla="*/ 427387 h 463366"/>
              <a:gd name="connsiteX25" fmla="*/ 859459 w 1785077"/>
              <a:gd name="connsiteY25" fmla="*/ 407797 h 463366"/>
              <a:gd name="connsiteX26" fmla="*/ 1432981 w 1785077"/>
              <a:gd name="connsiteY26" fmla="*/ 406242 h 463366"/>
              <a:gd name="connsiteX27" fmla="*/ 1416643 w 1785077"/>
              <a:gd name="connsiteY27" fmla="*/ 420149 h 463366"/>
              <a:gd name="connsiteX28" fmla="*/ 1449169 w 1785077"/>
              <a:gd name="connsiteY28" fmla="*/ 420149 h 463366"/>
              <a:gd name="connsiteX29" fmla="*/ 1432981 w 1785077"/>
              <a:gd name="connsiteY29" fmla="*/ 406242 h 463366"/>
              <a:gd name="connsiteX30" fmla="*/ 705000 w 1785077"/>
              <a:gd name="connsiteY30" fmla="*/ 406242 h 463366"/>
              <a:gd name="connsiteX31" fmla="*/ 688662 w 1785077"/>
              <a:gd name="connsiteY31" fmla="*/ 420149 h 463366"/>
              <a:gd name="connsiteX32" fmla="*/ 721188 w 1785077"/>
              <a:gd name="connsiteY32" fmla="*/ 420149 h 463366"/>
              <a:gd name="connsiteX33" fmla="*/ 705000 w 1785077"/>
              <a:gd name="connsiteY33" fmla="*/ 406242 h 463366"/>
              <a:gd name="connsiteX34" fmla="*/ 986749 w 1785077"/>
              <a:gd name="connsiteY34" fmla="*/ 393441 h 463366"/>
              <a:gd name="connsiteX35" fmla="*/ 1004074 w 1785077"/>
              <a:gd name="connsiteY35" fmla="*/ 393441 h 463366"/>
              <a:gd name="connsiteX36" fmla="*/ 1004074 w 1785077"/>
              <a:gd name="connsiteY36" fmla="*/ 434654 h 463366"/>
              <a:gd name="connsiteX37" fmla="*/ 1004074 w 1785077"/>
              <a:gd name="connsiteY37" fmla="*/ 461482 h 463366"/>
              <a:gd name="connsiteX38" fmla="*/ 986749 w 1785077"/>
              <a:gd name="connsiteY38" fmla="*/ 461482 h 463366"/>
              <a:gd name="connsiteX39" fmla="*/ 904881 w 1785077"/>
              <a:gd name="connsiteY39" fmla="*/ 393441 h 463366"/>
              <a:gd name="connsiteX40" fmla="*/ 923912 w 1785077"/>
              <a:gd name="connsiteY40" fmla="*/ 393441 h 463366"/>
              <a:gd name="connsiteX41" fmla="*/ 941237 w 1785077"/>
              <a:gd name="connsiteY41" fmla="*/ 445989 h 463366"/>
              <a:gd name="connsiteX42" fmla="*/ 958861 w 1785077"/>
              <a:gd name="connsiteY42" fmla="*/ 393441 h 463366"/>
              <a:gd name="connsiteX43" fmla="*/ 976635 w 1785077"/>
              <a:gd name="connsiteY43" fmla="*/ 393441 h 463366"/>
              <a:gd name="connsiteX44" fmla="*/ 952069 w 1785077"/>
              <a:gd name="connsiteY44" fmla="*/ 461482 h 463366"/>
              <a:gd name="connsiteX45" fmla="*/ 929477 w 1785077"/>
              <a:gd name="connsiteY45" fmla="*/ 461482 h 463366"/>
              <a:gd name="connsiteX46" fmla="*/ 1509133 w 1785077"/>
              <a:gd name="connsiteY46" fmla="*/ 391646 h 463366"/>
              <a:gd name="connsiteX47" fmla="*/ 1530019 w 1785077"/>
              <a:gd name="connsiteY47" fmla="*/ 402443 h 463366"/>
              <a:gd name="connsiteX48" fmla="*/ 1530019 w 1785077"/>
              <a:gd name="connsiteY48" fmla="*/ 393471 h 463366"/>
              <a:gd name="connsiteX49" fmla="*/ 1547344 w 1785077"/>
              <a:gd name="connsiteY49" fmla="*/ 393471 h 463366"/>
              <a:gd name="connsiteX50" fmla="*/ 1547344 w 1785077"/>
              <a:gd name="connsiteY50" fmla="*/ 461512 h 463366"/>
              <a:gd name="connsiteX51" fmla="*/ 1530019 w 1785077"/>
              <a:gd name="connsiteY51" fmla="*/ 461512 h 463366"/>
              <a:gd name="connsiteX52" fmla="*/ 1530019 w 1785077"/>
              <a:gd name="connsiteY52" fmla="*/ 451851 h 463366"/>
              <a:gd name="connsiteX53" fmla="*/ 1509133 w 1785077"/>
              <a:gd name="connsiteY53" fmla="*/ 463366 h 463366"/>
              <a:gd name="connsiteX54" fmla="*/ 1476607 w 1785077"/>
              <a:gd name="connsiteY54" fmla="*/ 427446 h 463366"/>
              <a:gd name="connsiteX55" fmla="*/ 1509133 w 1785077"/>
              <a:gd name="connsiteY55" fmla="*/ 391646 h 463366"/>
              <a:gd name="connsiteX56" fmla="*/ 1432681 w 1785077"/>
              <a:gd name="connsiteY56" fmla="*/ 391646 h 463366"/>
              <a:gd name="connsiteX57" fmla="*/ 1467062 w 1785077"/>
              <a:gd name="connsiteY57" fmla="*/ 426160 h 463366"/>
              <a:gd name="connsiteX58" fmla="*/ 1466673 w 1785077"/>
              <a:gd name="connsiteY58" fmla="*/ 432232 h 463366"/>
              <a:gd name="connsiteX59" fmla="*/ 1416224 w 1785077"/>
              <a:gd name="connsiteY59" fmla="*/ 432232 h 463366"/>
              <a:gd name="connsiteX60" fmla="*/ 1435554 w 1785077"/>
              <a:gd name="connsiteY60" fmla="*/ 448143 h 463366"/>
              <a:gd name="connsiteX61" fmla="*/ 1452310 w 1785077"/>
              <a:gd name="connsiteY61" fmla="*/ 441055 h 463366"/>
              <a:gd name="connsiteX62" fmla="*/ 1461257 w 1785077"/>
              <a:gd name="connsiteY62" fmla="*/ 452988 h 463366"/>
              <a:gd name="connsiteX63" fmla="*/ 1434955 w 1785077"/>
              <a:gd name="connsiteY63" fmla="*/ 463366 h 463366"/>
              <a:gd name="connsiteX64" fmla="*/ 1398450 w 1785077"/>
              <a:gd name="connsiteY64" fmla="*/ 427446 h 463366"/>
              <a:gd name="connsiteX65" fmla="*/ 1432681 w 1785077"/>
              <a:gd name="connsiteY65" fmla="*/ 391646 h 463366"/>
              <a:gd name="connsiteX66" fmla="*/ 1178252 w 1785077"/>
              <a:gd name="connsiteY66" fmla="*/ 391646 h 463366"/>
              <a:gd name="connsiteX67" fmla="*/ 1199137 w 1785077"/>
              <a:gd name="connsiteY67" fmla="*/ 402443 h 463366"/>
              <a:gd name="connsiteX68" fmla="*/ 1199137 w 1785077"/>
              <a:gd name="connsiteY68" fmla="*/ 393471 h 463366"/>
              <a:gd name="connsiteX69" fmla="*/ 1216463 w 1785077"/>
              <a:gd name="connsiteY69" fmla="*/ 393471 h 463366"/>
              <a:gd name="connsiteX70" fmla="*/ 1216463 w 1785077"/>
              <a:gd name="connsiteY70" fmla="*/ 461512 h 463366"/>
              <a:gd name="connsiteX71" fmla="*/ 1199137 w 1785077"/>
              <a:gd name="connsiteY71" fmla="*/ 461512 h 463366"/>
              <a:gd name="connsiteX72" fmla="*/ 1199137 w 1785077"/>
              <a:gd name="connsiteY72" fmla="*/ 451851 h 463366"/>
              <a:gd name="connsiteX73" fmla="*/ 1178252 w 1785077"/>
              <a:gd name="connsiteY73" fmla="*/ 463366 h 463366"/>
              <a:gd name="connsiteX74" fmla="*/ 1145726 w 1785077"/>
              <a:gd name="connsiteY74" fmla="*/ 427446 h 463366"/>
              <a:gd name="connsiteX75" fmla="*/ 1178252 w 1785077"/>
              <a:gd name="connsiteY75" fmla="*/ 391646 h 463366"/>
              <a:gd name="connsiteX76" fmla="*/ 856616 w 1785077"/>
              <a:gd name="connsiteY76" fmla="*/ 391646 h 463366"/>
              <a:gd name="connsiteX77" fmla="*/ 877502 w 1785077"/>
              <a:gd name="connsiteY77" fmla="*/ 402443 h 463366"/>
              <a:gd name="connsiteX78" fmla="*/ 877502 w 1785077"/>
              <a:gd name="connsiteY78" fmla="*/ 393471 h 463366"/>
              <a:gd name="connsiteX79" fmla="*/ 894827 w 1785077"/>
              <a:gd name="connsiteY79" fmla="*/ 393471 h 463366"/>
              <a:gd name="connsiteX80" fmla="*/ 894827 w 1785077"/>
              <a:gd name="connsiteY80" fmla="*/ 461512 h 463366"/>
              <a:gd name="connsiteX81" fmla="*/ 877502 w 1785077"/>
              <a:gd name="connsiteY81" fmla="*/ 461512 h 463366"/>
              <a:gd name="connsiteX82" fmla="*/ 877502 w 1785077"/>
              <a:gd name="connsiteY82" fmla="*/ 451851 h 463366"/>
              <a:gd name="connsiteX83" fmla="*/ 856616 w 1785077"/>
              <a:gd name="connsiteY83" fmla="*/ 463366 h 463366"/>
              <a:gd name="connsiteX84" fmla="*/ 824091 w 1785077"/>
              <a:gd name="connsiteY84" fmla="*/ 427446 h 463366"/>
              <a:gd name="connsiteX85" fmla="*/ 856616 w 1785077"/>
              <a:gd name="connsiteY85" fmla="*/ 391646 h 463366"/>
              <a:gd name="connsiteX86" fmla="*/ 704701 w 1785077"/>
              <a:gd name="connsiteY86" fmla="*/ 391646 h 463366"/>
              <a:gd name="connsiteX87" fmla="*/ 739081 w 1785077"/>
              <a:gd name="connsiteY87" fmla="*/ 426160 h 463366"/>
              <a:gd name="connsiteX88" fmla="*/ 738692 w 1785077"/>
              <a:gd name="connsiteY88" fmla="*/ 432232 h 463366"/>
              <a:gd name="connsiteX89" fmla="*/ 688243 w 1785077"/>
              <a:gd name="connsiteY89" fmla="*/ 432232 h 463366"/>
              <a:gd name="connsiteX90" fmla="*/ 707573 w 1785077"/>
              <a:gd name="connsiteY90" fmla="*/ 448143 h 463366"/>
              <a:gd name="connsiteX91" fmla="*/ 724330 w 1785077"/>
              <a:gd name="connsiteY91" fmla="*/ 441055 h 463366"/>
              <a:gd name="connsiteX92" fmla="*/ 733276 w 1785077"/>
              <a:gd name="connsiteY92" fmla="*/ 452988 h 463366"/>
              <a:gd name="connsiteX93" fmla="*/ 706975 w 1785077"/>
              <a:gd name="connsiteY93" fmla="*/ 463366 h 463366"/>
              <a:gd name="connsiteX94" fmla="*/ 670469 w 1785077"/>
              <a:gd name="connsiteY94" fmla="*/ 427446 h 463366"/>
              <a:gd name="connsiteX95" fmla="*/ 704701 w 1785077"/>
              <a:gd name="connsiteY95" fmla="*/ 391646 h 463366"/>
              <a:gd name="connsiteX96" fmla="*/ 1051680 w 1785077"/>
              <a:gd name="connsiteY96" fmla="*/ 391616 h 463366"/>
              <a:gd name="connsiteX97" fmla="*/ 1087048 w 1785077"/>
              <a:gd name="connsiteY97" fmla="*/ 427417 h 463366"/>
              <a:gd name="connsiteX98" fmla="*/ 1051680 w 1785077"/>
              <a:gd name="connsiteY98" fmla="*/ 463336 h 463366"/>
              <a:gd name="connsiteX99" fmla="*/ 1016312 w 1785077"/>
              <a:gd name="connsiteY99" fmla="*/ 427417 h 463366"/>
              <a:gd name="connsiteX100" fmla="*/ 1051680 w 1785077"/>
              <a:gd name="connsiteY100" fmla="*/ 391616 h 463366"/>
              <a:gd name="connsiteX101" fmla="*/ 1133219 w 1785077"/>
              <a:gd name="connsiteY101" fmla="*/ 391587 h 463366"/>
              <a:gd name="connsiteX102" fmla="*/ 1144020 w 1785077"/>
              <a:gd name="connsiteY102" fmla="*/ 394876 h 463366"/>
              <a:gd name="connsiteX103" fmla="*/ 1136929 w 1785077"/>
              <a:gd name="connsiteY103" fmla="*/ 411206 h 463366"/>
              <a:gd name="connsiteX104" fmla="*/ 1127833 w 1785077"/>
              <a:gd name="connsiteY104" fmla="*/ 408365 h 463366"/>
              <a:gd name="connsiteX105" fmla="*/ 1116462 w 1785077"/>
              <a:gd name="connsiteY105" fmla="*/ 423409 h 463366"/>
              <a:gd name="connsiteX106" fmla="*/ 1116462 w 1785077"/>
              <a:gd name="connsiteY106" fmla="*/ 461482 h 463366"/>
              <a:gd name="connsiteX107" fmla="*/ 1099137 w 1785077"/>
              <a:gd name="connsiteY107" fmla="*/ 461482 h 463366"/>
              <a:gd name="connsiteX108" fmla="*/ 1099137 w 1785077"/>
              <a:gd name="connsiteY108" fmla="*/ 393441 h 463366"/>
              <a:gd name="connsiteX109" fmla="*/ 1116462 w 1785077"/>
              <a:gd name="connsiteY109" fmla="*/ 393441 h 463366"/>
              <a:gd name="connsiteX110" fmla="*/ 1116462 w 1785077"/>
              <a:gd name="connsiteY110" fmla="*/ 403520 h 463366"/>
              <a:gd name="connsiteX111" fmla="*/ 1133219 w 1785077"/>
              <a:gd name="connsiteY111" fmla="*/ 391587 h 463366"/>
              <a:gd name="connsiteX112" fmla="*/ 609398 w 1785077"/>
              <a:gd name="connsiteY112" fmla="*/ 386173 h 463366"/>
              <a:gd name="connsiteX113" fmla="*/ 609398 w 1785077"/>
              <a:gd name="connsiteY113" fmla="*/ 386203 h 463366"/>
              <a:gd name="connsiteX114" fmla="*/ 609398 w 1785077"/>
              <a:gd name="connsiteY114" fmla="*/ 408066 h 463366"/>
              <a:gd name="connsiteX115" fmla="*/ 626603 w 1785077"/>
              <a:gd name="connsiteY115" fmla="*/ 408066 h 463366"/>
              <a:gd name="connsiteX116" fmla="*/ 639829 w 1785077"/>
              <a:gd name="connsiteY116" fmla="*/ 397120 h 463366"/>
              <a:gd name="connsiteX117" fmla="*/ 626603 w 1785077"/>
              <a:gd name="connsiteY117" fmla="*/ 386173 h 463366"/>
              <a:gd name="connsiteX118" fmla="*/ 1608595 w 1785077"/>
              <a:gd name="connsiteY118" fmla="*/ 375855 h 463366"/>
              <a:gd name="connsiteX119" fmla="*/ 1626069 w 1785077"/>
              <a:gd name="connsiteY119" fmla="*/ 375855 h 463366"/>
              <a:gd name="connsiteX120" fmla="*/ 1626069 w 1785077"/>
              <a:gd name="connsiteY120" fmla="*/ 393471 h 463366"/>
              <a:gd name="connsiteX121" fmla="*/ 1644412 w 1785077"/>
              <a:gd name="connsiteY121" fmla="*/ 393471 h 463366"/>
              <a:gd name="connsiteX122" fmla="*/ 1644412 w 1785077"/>
              <a:gd name="connsiteY122" fmla="*/ 408814 h 463366"/>
              <a:gd name="connsiteX123" fmla="*/ 1626219 w 1785077"/>
              <a:gd name="connsiteY123" fmla="*/ 408814 h 463366"/>
              <a:gd name="connsiteX124" fmla="*/ 1626219 w 1785077"/>
              <a:gd name="connsiteY124" fmla="*/ 437795 h 463366"/>
              <a:gd name="connsiteX125" fmla="*/ 1633879 w 1785077"/>
              <a:gd name="connsiteY125" fmla="*/ 447156 h 463366"/>
              <a:gd name="connsiteX126" fmla="*/ 1641988 w 1785077"/>
              <a:gd name="connsiteY126" fmla="*/ 443746 h 463366"/>
              <a:gd name="connsiteX127" fmla="*/ 1649648 w 1785077"/>
              <a:gd name="connsiteY127" fmla="*/ 456667 h 463366"/>
              <a:gd name="connsiteX128" fmla="*/ 1631186 w 1785077"/>
              <a:gd name="connsiteY128" fmla="*/ 463336 h 463366"/>
              <a:gd name="connsiteX129" fmla="*/ 1608595 w 1785077"/>
              <a:gd name="connsiteY129" fmla="*/ 438213 h 463366"/>
              <a:gd name="connsiteX130" fmla="*/ 1608595 w 1785077"/>
              <a:gd name="connsiteY130" fmla="*/ 408814 h 463366"/>
              <a:gd name="connsiteX131" fmla="*/ 1596656 w 1785077"/>
              <a:gd name="connsiteY131" fmla="*/ 408814 h 463366"/>
              <a:gd name="connsiteX132" fmla="*/ 1596656 w 1785077"/>
              <a:gd name="connsiteY132" fmla="*/ 393471 h 463366"/>
              <a:gd name="connsiteX133" fmla="*/ 1608595 w 1785077"/>
              <a:gd name="connsiteY133" fmla="*/ 393471 h 463366"/>
              <a:gd name="connsiteX134" fmla="*/ 591654 w 1785077"/>
              <a:gd name="connsiteY134" fmla="*/ 370591 h 463366"/>
              <a:gd name="connsiteX135" fmla="*/ 591804 w 1785077"/>
              <a:gd name="connsiteY135" fmla="*/ 370591 h 463366"/>
              <a:gd name="connsiteX136" fmla="*/ 609428 w 1785077"/>
              <a:gd name="connsiteY136" fmla="*/ 370591 h 463366"/>
              <a:gd name="connsiteX137" fmla="*/ 628339 w 1785077"/>
              <a:gd name="connsiteY137" fmla="*/ 370591 h 463366"/>
              <a:gd name="connsiteX138" fmla="*/ 658321 w 1785077"/>
              <a:gd name="connsiteY138" fmla="*/ 395714 h 463366"/>
              <a:gd name="connsiteX139" fmla="*/ 644826 w 1785077"/>
              <a:gd name="connsiteY139" fmla="*/ 414735 h 463366"/>
              <a:gd name="connsiteX140" fmla="*/ 660834 w 1785077"/>
              <a:gd name="connsiteY140" fmla="*/ 435910 h 463366"/>
              <a:gd name="connsiteX141" fmla="*/ 630433 w 1785077"/>
              <a:gd name="connsiteY141" fmla="*/ 461482 h 463366"/>
              <a:gd name="connsiteX142" fmla="*/ 591654 w 1785077"/>
              <a:gd name="connsiteY142" fmla="*/ 461482 h 463366"/>
              <a:gd name="connsiteX143" fmla="*/ 1306678 w 1785077"/>
              <a:gd name="connsiteY143" fmla="*/ 370442 h 463366"/>
              <a:gd name="connsiteX144" fmla="*/ 1324452 w 1785077"/>
              <a:gd name="connsiteY144" fmla="*/ 370442 h 463366"/>
              <a:gd name="connsiteX145" fmla="*/ 1324452 w 1785077"/>
              <a:gd name="connsiteY145" fmla="*/ 406660 h 463366"/>
              <a:gd name="connsiteX146" fmla="*/ 1367929 w 1785077"/>
              <a:gd name="connsiteY146" fmla="*/ 406660 h 463366"/>
              <a:gd name="connsiteX147" fmla="*/ 1367929 w 1785077"/>
              <a:gd name="connsiteY147" fmla="*/ 370442 h 463366"/>
              <a:gd name="connsiteX148" fmla="*/ 1385703 w 1785077"/>
              <a:gd name="connsiteY148" fmla="*/ 370442 h 463366"/>
              <a:gd name="connsiteX149" fmla="*/ 1385703 w 1785077"/>
              <a:gd name="connsiteY149" fmla="*/ 461482 h 463366"/>
              <a:gd name="connsiteX150" fmla="*/ 1367929 w 1785077"/>
              <a:gd name="connsiteY150" fmla="*/ 461482 h 463366"/>
              <a:gd name="connsiteX151" fmla="*/ 1367929 w 1785077"/>
              <a:gd name="connsiteY151" fmla="*/ 423289 h 463366"/>
              <a:gd name="connsiteX152" fmla="*/ 1324452 w 1785077"/>
              <a:gd name="connsiteY152" fmla="*/ 423289 h 463366"/>
              <a:gd name="connsiteX153" fmla="*/ 1324452 w 1785077"/>
              <a:gd name="connsiteY153" fmla="*/ 461482 h 463366"/>
              <a:gd name="connsiteX154" fmla="*/ 1306678 w 1785077"/>
              <a:gd name="connsiteY154" fmla="*/ 461482 h 463366"/>
              <a:gd name="connsiteX155" fmla="*/ 995426 w 1785077"/>
              <a:gd name="connsiteY155" fmla="*/ 364071 h 463366"/>
              <a:gd name="connsiteX156" fmla="*/ 1005660 w 1785077"/>
              <a:gd name="connsiteY156" fmla="*/ 374150 h 463366"/>
              <a:gd name="connsiteX157" fmla="*/ 995426 w 1785077"/>
              <a:gd name="connsiteY157" fmla="*/ 384379 h 463366"/>
              <a:gd name="connsiteX158" fmla="*/ 985342 w 1785077"/>
              <a:gd name="connsiteY158" fmla="*/ 374150 h 463366"/>
              <a:gd name="connsiteX159" fmla="*/ 995426 w 1785077"/>
              <a:gd name="connsiteY159" fmla="*/ 364071 h 463366"/>
              <a:gd name="connsiteX160" fmla="*/ 1563831 w 1785077"/>
              <a:gd name="connsiteY160" fmla="*/ 363802 h 463366"/>
              <a:gd name="connsiteX161" fmla="*/ 1581156 w 1785077"/>
              <a:gd name="connsiteY161" fmla="*/ 363802 h 463366"/>
              <a:gd name="connsiteX162" fmla="*/ 1581156 w 1785077"/>
              <a:gd name="connsiteY162" fmla="*/ 439918 h 463366"/>
              <a:gd name="connsiteX163" fmla="*/ 1587260 w 1785077"/>
              <a:gd name="connsiteY163" fmla="*/ 447156 h 463366"/>
              <a:gd name="connsiteX164" fmla="*/ 1590103 w 1785077"/>
              <a:gd name="connsiteY164" fmla="*/ 446438 h 463366"/>
              <a:gd name="connsiteX165" fmla="*/ 1591958 w 1785077"/>
              <a:gd name="connsiteY165" fmla="*/ 461631 h 463366"/>
              <a:gd name="connsiteX166" fmla="*/ 1583580 w 1785077"/>
              <a:gd name="connsiteY166" fmla="*/ 463067 h 463366"/>
              <a:gd name="connsiteX167" fmla="*/ 1563831 w 1785077"/>
              <a:gd name="connsiteY167" fmla="*/ 439499 h 463366"/>
              <a:gd name="connsiteX168" fmla="*/ 1232950 w 1785077"/>
              <a:gd name="connsiteY168" fmla="*/ 363802 h 463366"/>
              <a:gd name="connsiteX169" fmla="*/ 1250275 w 1785077"/>
              <a:gd name="connsiteY169" fmla="*/ 363802 h 463366"/>
              <a:gd name="connsiteX170" fmla="*/ 1250275 w 1785077"/>
              <a:gd name="connsiteY170" fmla="*/ 439918 h 463366"/>
              <a:gd name="connsiteX171" fmla="*/ 1256379 w 1785077"/>
              <a:gd name="connsiteY171" fmla="*/ 447156 h 463366"/>
              <a:gd name="connsiteX172" fmla="*/ 1259222 w 1785077"/>
              <a:gd name="connsiteY172" fmla="*/ 446438 h 463366"/>
              <a:gd name="connsiteX173" fmla="*/ 1261077 w 1785077"/>
              <a:gd name="connsiteY173" fmla="*/ 461631 h 463366"/>
              <a:gd name="connsiteX174" fmla="*/ 1252698 w 1785077"/>
              <a:gd name="connsiteY174" fmla="*/ 463067 h 463366"/>
              <a:gd name="connsiteX175" fmla="*/ 1232950 w 1785077"/>
              <a:gd name="connsiteY175" fmla="*/ 439499 h 463366"/>
              <a:gd name="connsiteX176" fmla="*/ 1661168 w 1785077"/>
              <a:gd name="connsiteY176" fmla="*/ 363772 h 463366"/>
              <a:gd name="connsiteX177" fmla="*/ 1678494 w 1785077"/>
              <a:gd name="connsiteY177" fmla="*/ 363772 h 463366"/>
              <a:gd name="connsiteX178" fmla="*/ 1678494 w 1785077"/>
              <a:gd name="connsiteY178" fmla="*/ 403101 h 463366"/>
              <a:gd name="connsiteX179" fmla="*/ 1697823 w 1785077"/>
              <a:gd name="connsiteY179" fmla="*/ 391587 h 463366"/>
              <a:gd name="connsiteX180" fmla="*/ 1723527 w 1785077"/>
              <a:gd name="connsiteY180" fmla="*/ 420298 h 463366"/>
              <a:gd name="connsiteX181" fmla="*/ 1723527 w 1785077"/>
              <a:gd name="connsiteY181" fmla="*/ 461482 h 463366"/>
              <a:gd name="connsiteX182" fmla="*/ 1706202 w 1785077"/>
              <a:gd name="connsiteY182" fmla="*/ 461482 h 463366"/>
              <a:gd name="connsiteX183" fmla="*/ 1706202 w 1785077"/>
              <a:gd name="connsiteY183" fmla="*/ 422841 h 463366"/>
              <a:gd name="connsiteX184" fmla="*/ 1692407 w 1785077"/>
              <a:gd name="connsiteY184" fmla="*/ 407797 h 463366"/>
              <a:gd name="connsiteX185" fmla="*/ 1678494 w 1785077"/>
              <a:gd name="connsiteY185" fmla="*/ 422841 h 463366"/>
              <a:gd name="connsiteX186" fmla="*/ 1678494 w 1785077"/>
              <a:gd name="connsiteY186" fmla="*/ 461482 h 463366"/>
              <a:gd name="connsiteX187" fmla="*/ 1661168 w 1785077"/>
              <a:gd name="connsiteY187" fmla="*/ 461482 h 463366"/>
              <a:gd name="connsiteX188" fmla="*/ 750213 w 1785077"/>
              <a:gd name="connsiteY188" fmla="*/ 363772 h 463366"/>
              <a:gd name="connsiteX189" fmla="*/ 767538 w 1785077"/>
              <a:gd name="connsiteY189" fmla="*/ 363772 h 463366"/>
              <a:gd name="connsiteX190" fmla="*/ 767538 w 1785077"/>
              <a:gd name="connsiteY190" fmla="*/ 403101 h 463366"/>
              <a:gd name="connsiteX191" fmla="*/ 786867 w 1785077"/>
              <a:gd name="connsiteY191" fmla="*/ 391587 h 463366"/>
              <a:gd name="connsiteX192" fmla="*/ 812571 w 1785077"/>
              <a:gd name="connsiteY192" fmla="*/ 420298 h 463366"/>
              <a:gd name="connsiteX193" fmla="*/ 812571 w 1785077"/>
              <a:gd name="connsiteY193" fmla="*/ 461482 h 463366"/>
              <a:gd name="connsiteX194" fmla="*/ 795246 w 1785077"/>
              <a:gd name="connsiteY194" fmla="*/ 461482 h 463366"/>
              <a:gd name="connsiteX195" fmla="*/ 795246 w 1785077"/>
              <a:gd name="connsiteY195" fmla="*/ 422841 h 463366"/>
              <a:gd name="connsiteX196" fmla="*/ 781451 w 1785077"/>
              <a:gd name="connsiteY196" fmla="*/ 407797 h 463366"/>
              <a:gd name="connsiteX197" fmla="*/ 767538 w 1785077"/>
              <a:gd name="connsiteY197" fmla="*/ 422841 h 463366"/>
              <a:gd name="connsiteX198" fmla="*/ 767538 w 1785077"/>
              <a:gd name="connsiteY198" fmla="*/ 461482 h 463366"/>
              <a:gd name="connsiteX199" fmla="*/ 750213 w 1785077"/>
              <a:gd name="connsiteY199" fmla="*/ 461482 h 463366"/>
              <a:gd name="connsiteX200" fmla="*/ 1760720 w 1785077"/>
              <a:gd name="connsiteY200" fmla="*/ 269382 h 463366"/>
              <a:gd name="connsiteX201" fmla="*/ 1764580 w 1785077"/>
              <a:gd name="connsiteY201" fmla="*/ 269382 h 463366"/>
              <a:gd name="connsiteX202" fmla="*/ 1773138 w 1785077"/>
              <a:gd name="connsiteY202" fmla="*/ 282960 h 463366"/>
              <a:gd name="connsiteX203" fmla="*/ 1781666 w 1785077"/>
              <a:gd name="connsiteY203" fmla="*/ 269382 h 463366"/>
              <a:gd name="connsiteX204" fmla="*/ 1785077 w 1785077"/>
              <a:gd name="connsiteY204" fmla="*/ 269382 h 463366"/>
              <a:gd name="connsiteX205" fmla="*/ 1785077 w 1785077"/>
              <a:gd name="connsiteY205" fmla="*/ 293099 h 463366"/>
              <a:gd name="connsiteX206" fmla="*/ 1781756 w 1785077"/>
              <a:gd name="connsiteY206" fmla="*/ 293099 h 463366"/>
              <a:gd name="connsiteX207" fmla="*/ 1781756 w 1785077"/>
              <a:gd name="connsiteY207" fmla="*/ 274705 h 463366"/>
              <a:gd name="connsiteX208" fmla="*/ 1772929 w 1785077"/>
              <a:gd name="connsiteY208" fmla="*/ 288433 h 463366"/>
              <a:gd name="connsiteX209" fmla="*/ 1764042 w 1785077"/>
              <a:gd name="connsiteY209" fmla="*/ 274705 h 463366"/>
              <a:gd name="connsiteX210" fmla="*/ 1764042 w 1785077"/>
              <a:gd name="connsiteY210" fmla="*/ 293099 h 463366"/>
              <a:gd name="connsiteX211" fmla="*/ 1760720 w 1785077"/>
              <a:gd name="connsiteY211" fmla="*/ 293099 h 463366"/>
              <a:gd name="connsiteX212" fmla="*/ 1748452 w 1785077"/>
              <a:gd name="connsiteY212" fmla="*/ 268963 h 463366"/>
              <a:gd name="connsiteX213" fmla="*/ 1756591 w 1785077"/>
              <a:gd name="connsiteY213" fmla="*/ 272642 h 463366"/>
              <a:gd name="connsiteX214" fmla="*/ 1754287 w 1785077"/>
              <a:gd name="connsiteY214" fmla="*/ 274885 h 463366"/>
              <a:gd name="connsiteX215" fmla="*/ 1748392 w 1785077"/>
              <a:gd name="connsiteY215" fmla="*/ 272073 h 463366"/>
              <a:gd name="connsiteX216" fmla="*/ 1743754 w 1785077"/>
              <a:gd name="connsiteY216" fmla="*/ 275274 h 463366"/>
              <a:gd name="connsiteX217" fmla="*/ 1757010 w 1785077"/>
              <a:gd name="connsiteY217" fmla="*/ 286549 h 463366"/>
              <a:gd name="connsiteX218" fmla="*/ 1748303 w 1785077"/>
              <a:gd name="connsiteY218" fmla="*/ 293547 h 463366"/>
              <a:gd name="connsiteX219" fmla="*/ 1739326 w 1785077"/>
              <a:gd name="connsiteY219" fmla="*/ 289510 h 463366"/>
              <a:gd name="connsiteX220" fmla="*/ 1741720 w 1785077"/>
              <a:gd name="connsiteY220" fmla="*/ 287267 h 463366"/>
              <a:gd name="connsiteX221" fmla="*/ 1748303 w 1785077"/>
              <a:gd name="connsiteY221" fmla="*/ 290407 h 463366"/>
              <a:gd name="connsiteX222" fmla="*/ 1753419 w 1785077"/>
              <a:gd name="connsiteY222" fmla="*/ 286788 h 463366"/>
              <a:gd name="connsiteX223" fmla="*/ 1740164 w 1785077"/>
              <a:gd name="connsiteY223" fmla="*/ 275393 h 463366"/>
              <a:gd name="connsiteX224" fmla="*/ 1748452 w 1785077"/>
              <a:gd name="connsiteY224" fmla="*/ 268963 h 463366"/>
              <a:gd name="connsiteX225" fmla="*/ 1411587 w 1785077"/>
              <a:gd name="connsiteY225" fmla="*/ 134646 h 463366"/>
              <a:gd name="connsiteX226" fmla="*/ 1357906 w 1785077"/>
              <a:gd name="connsiteY226" fmla="*/ 192488 h 463366"/>
              <a:gd name="connsiteX227" fmla="*/ 1411587 w 1785077"/>
              <a:gd name="connsiteY227" fmla="*/ 250749 h 463366"/>
              <a:gd name="connsiteX228" fmla="*/ 1464429 w 1785077"/>
              <a:gd name="connsiteY228" fmla="*/ 192488 h 463366"/>
              <a:gd name="connsiteX229" fmla="*/ 1411587 w 1785077"/>
              <a:gd name="connsiteY229" fmla="*/ 134646 h 463366"/>
              <a:gd name="connsiteX230" fmla="*/ 742014 w 1785077"/>
              <a:gd name="connsiteY230" fmla="*/ 134646 h 463366"/>
              <a:gd name="connsiteX231" fmla="*/ 688334 w 1785077"/>
              <a:gd name="connsiteY231" fmla="*/ 192488 h 463366"/>
              <a:gd name="connsiteX232" fmla="*/ 742014 w 1785077"/>
              <a:gd name="connsiteY232" fmla="*/ 250749 h 463366"/>
              <a:gd name="connsiteX233" fmla="*/ 794857 w 1785077"/>
              <a:gd name="connsiteY233" fmla="*/ 192488 h 463366"/>
              <a:gd name="connsiteX234" fmla="*/ 742014 w 1785077"/>
              <a:gd name="connsiteY234" fmla="*/ 134646 h 463366"/>
              <a:gd name="connsiteX235" fmla="*/ 1110987 w 1785077"/>
              <a:gd name="connsiteY235" fmla="*/ 130070 h 463366"/>
              <a:gd name="connsiteX236" fmla="*/ 1061914 w 1785077"/>
              <a:gd name="connsiteY236" fmla="*/ 173227 h 463366"/>
              <a:gd name="connsiteX237" fmla="*/ 1158773 w 1785077"/>
              <a:gd name="connsiteY237" fmla="*/ 173227 h 463366"/>
              <a:gd name="connsiteX238" fmla="*/ 1110987 w 1785077"/>
              <a:gd name="connsiteY238" fmla="*/ 130070 h 463366"/>
              <a:gd name="connsiteX239" fmla="*/ 733636 w 1785077"/>
              <a:gd name="connsiteY239" fmla="*/ 86494 h 463366"/>
              <a:gd name="connsiteX240" fmla="*/ 794857 w 1785077"/>
              <a:gd name="connsiteY240" fmla="*/ 112484 h 463366"/>
              <a:gd name="connsiteX241" fmla="*/ 794857 w 1785077"/>
              <a:gd name="connsiteY241" fmla="*/ 92356 h 463366"/>
              <a:gd name="connsiteX242" fmla="*/ 846443 w 1785077"/>
              <a:gd name="connsiteY242" fmla="*/ 92356 h 463366"/>
              <a:gd name="connsiteX243" fmla="*/ 846443 w 1785077"/>
              <a:gd name="connsiteY243" fmla="*/ 293099 h 463366"/>
              <a:gd name="connsiteX244" fmla="*/ 794857 w 1785077"/>
              <a:gd name="connsiteY244" fmla="*/ 293099 h 463366"/>
              <a:gd name="connsiteX245" fmla="*/ 794857 w 1785077"/>
              <a:gd name="connsiteY245" fmla="*/ 271296 h 463366"/>
              <a:gd name="connsiteX246" fmla="*/ 733636 w 1785077"/>
              <a:gd name="connsiteY246" fmla="*/ 298961 h 463366"/>
              <a:gd name="connsiteX247" fmla="*/ 637196 w 1785077"/>
              <a:gd name="connsiteY247" fmla="*/ 192937 h 463366"/>
              <a:gd name="connsiteX248" fmla="*/ 733636 w 1785077"/>
              <a:gd name="connsiteY248" fmla="*/ 86494 h 463366"/>
              <a:gd name="connsiteX249" fmla="*/ 555628 w 1785077"/>
              <a:gd name="connsiteY249" fmla="*/ 86494 h 463366"/>
              <a:gd name="connsiteX250" fmla="*/ 634862 w 1785077"/>
              <a:gd name="connsiteY250" fmla="*/ 116671 h 463366"/>
              <a:gd name="connsiteX251" fmla="*/ 605509 w 1785077"/>
              <a:gd name="connsiteY251" fmla="*/ 153129 h 463366"/>
              <a:gd name="connsiteX252" fmla="*/ 558141 w 1785077"/>
              <a:gd name="connsiteY252" fmla="*/ 134676 h 463366"/>
              <a:gd name="connsiteX253" fmla="*/ 501947 w 1785077"/>
              <a:gd name="connsiteY253" fmla="*/ 192518 h 463366"/>
              <a:gd name="connsiteX254" fmla="*/ 557723 w 1785077"/>
              <a:gd name="connsiteY254" fmla="*/ 250779 h 463366"/>
              <a:gd name="connsiteX255" fmla="*/ 607184 w 1785077"/>
              <a:gd name="connsiteY255" fmla="*/ 231070 h 463366"/>
              <a:gd name="connsiteX256" fmla="*/ 633187 w 1785077"/>
              <a:gd name="connsiteY256" fmla="*/ 268784 h 463366"/>
              <a:gd name="connsiteX257" fmla="*/ 556466 w 1785077"/>
              <a:gd name="connsiteY257" fmla="*/ 298961 h 463366"/>
              <a:gd name="connsiteX258" fmla="*/ 450810 w 1785077"/>
              <a:gd name="connsiteY258" fmla="*/ 192937 h 463366"/>
              <a:gd name="connsiteX259" fmla="*/ 555628 w 1785077"/>
              <a:gd name="connsiteY259" fmla="*/ 86494 h 463366"/>
              <a:gd name="connsiteX260" fmla="*/ 1647225 w 1785077"/>
              <a:gd name="connsiteY260" fmla="*/ 86464 h 463366"/>
              <a:gd name="connsiteX261" fmla="*/ 1723527 w 1785077"/>
              <a:gd name="connsiteY261" fmla="*/ 171553 h 463366"/>
              <a:gd name="connsiteX262" fmla="*/ 1723527 w 1785077"/>
              <a:gd name="connsiteY262" fmla="*/ 293099 h 463366"/>
              <a:gd name="connsiteX263" fmla="*/ 1672360 w 1785077"/>
              <a:gd name="connsiteY263" fmla="*/ 293099 h 463366"/>
              <a:gd name="connsiteX264" fmla="*/ 1672360 w 1785077"/>
              <a:gd name="connsiteY264" fmla="*/ 179089 h 463366"/>
              <a:gd name="connsiteX265" fmla="*/ 1631695 w 1785077"/>
              <a:gd name="connsiteY265" fmla="*/ 134676 h 463366"/>
              <a:gd name="connsiteX266" fmla="*/ 1590612 w 1785077"/>
              <a:gd name="connsiteY266" fmla="*/ 179089 h 463366"/>
              <a:gd name="connsiteX267" fmla="*/ 1590612 w 1785077"/>
              <a:gd name="connsiteY267" fmla="*/ 293069 h 463366"/>
              <a:gd name="connsiteX268" fmla="*/ 1539445 w 1785077"/>
              <a:gd name="connsiteY268" fmla="*/ 293069 h 463366"/>
              <a:gd name="connsiteX269" fmla="*/ 1539445 w 1785077"/>
              <a:gd name="connsiteY269" fmla="*/ 92326 h 463366"/>
              <a:gd name="connsiteX270" fmla="*/ 1590612 w 1785077"/>
              <a:gd name="connsiteY270" fmla="*/ 92326 h 463366"/>
              <a:gd name="connsiteX271" fmla="*/ 1590612 w 1785077"/>
              <a:gd name="connsiteY271" fmla="*/ 112035 h 463366"/>
              <a:gd name="connsiteX272" fmla="*/ 1647225 w 1785077"/>
              <a:gd name="connsiteY272" fmla="*/ 86464 h 463366"/>
              <a:gd name="connsiteX273" fmla="*/ 1411168 w 1785077"/>
              <a:gd name="connsiteY273" fmla="*/ 86464 h 463366"/>
              <a:gd name="connsiteX274" fmla="*/ 1515986 w 1785077"/>
              <a:gd name="connsiteY274" fmla="*/ 192907 h 463366"/>
              <a:gd name="connsiteX275" fmla="*/ 1411168 w 1785077"/>
              <a:gd name="connsiteY275" fmla="*/ 298931 h 463366"/>
              <a:gd name="connsiteX276" fmla="*/ 1306769 w 1785077"/>
              <a:gd name="connsiteY276" fmla="*/ 192907 h 463366"/>
              <a:gd name="connsiteX277" fmla="*/ 1411168 w 1785077"/>
              <a:gd name="connsiteY277" fmla="*/ 86464 h 463366"/>
              <a:gd name="connsiteX278" fmla="*/ 1110119 w 1785077"/>
              <a:gd name="connsiteY278" fmla="*/ 86464 h 463366"/>
              <a:gd name="connsiteX279" fmla="*/ 1211167 w 1785077"/>
              <a:gd name="connsiteY279" fmla="*/ 188720 h 463366"/>
              <a:gd name="connsiteX280" fmla="*/ 1209910 w 1785077"/>
              <a:gd name="connsiteY280" fmla="*/ 205468 h 463366"/>
              <a:gd name="connsiteX281" fmla="*/ 1061046 w 1785077"/>
              <a:gd name="connsiteY281" fmla="*/ 205468 h 463366"/>
              <a:gd name="connsiteX282" fmla="*/ 1118497 w 1785077"/>
              <a:gd name="connsiteY282" fmla="*/ 253680 h 463366"/>
              <a:gd name="connsiteX283" fmla="*/ 1167570 w 1785077"/>
              <a:gd name="connsiteY283" fmla="*/ 232715 h 463366"/>
              <a:gd name="connsiteX284" fmla="*/ 1193991 w 1785077"/>
              <a:gd name="connsiteY284" fmla="*/ 267498 h 463366"/>
              <a:gd name="connsiteX285" fmla="*/ 1116433 w 1785077"/>
              <a:gd name="connsiteY285" fmla="*/ 298931 h 463366"/>
              <a:gd name="connsiteX286" fmla="*/ 1008652 w 1785077"/>
              <a:gd name="connsiteY286" fmla="*/ 192907 h 463366"/>
              <a:gd name="connsiteX287" fmla="*/ 1110119 w 1785077"/>
              <a:gd name="connsiteY287" fmla="*/ 86464 h 463366"/>
              <a:gd name="connsiteX288" fmla="*/ 983518 w 1785077"/>
              <a:gd name="connsiteY288" fmla="*/ 86464 h 463366"/>
              <a:gd name="connsiteX289" fmla="*/ 1015804 w 1785077"/>
              <a:gd name="connsiteY289" fmla="*/ 96513 h 463366"/>
              <a:gd name="connsiteX290" fmla="*/ 994409 w 1785077"/>
              <a:gd name="connsiteY290" fmla="*/ 145144 h 463366"/>
              <a:gd name="connsiteX291" fmla="*/ 967988 w 1785077"/>
              <a:gd name="connsiteY291" fmla="*/ 136351 h 463366"/>
              <a:gd name="connsiteX292" fmla="*/ 934445 w 1785077"/>
              <a:gd name="connsiteY292" fmla="*/ 180764 h 463366"/>
              <a:gd name="connsiteX293" fmla="*/ 934445 w 1785077"/>
              <a:gd name="connsiteY293" fmla="*/ 293069 h 463366"/>
              <a:gd name="connsiteX294" fmla="*/ 883278 w 1785077"/>
              <a:gd name="connsiteY294" fmla="*/ 293069 h 463366"/>
              <a:gd name="connsiteX295" fmla="*/ 883278 w 1785077"/>
              <a:gd name="connsiteY295" fmla="*/ 92326 h 463366"/>
              <a:gd name="connsiteX296" fmla="*/ 934445 w 1785077"/>
              <a:gd name="connsiteY296" fmla="*/ 92326 h 463366"/>
              <a:gd name="connsiteX297" fmla="*/ 934445 w 1785077"/>
              <a:gd name="connsiteY297" fmla="*/ 114129 h 463366"/>
              <a:gd name="connsiteX298" fmla="*/ 983518 w 1785077"/>
              <a:gd name="connsiteY298" fmla="*/ 86464 h 463366"/>
              <a:gd name="connsiteX299" fmla="*/ 289840 w 1785077"/>
              <a:gd name="connsiteY299" fmla="*/ 38556 h 463366"/>
              <a:gd name="connsiteX300" fmla="*/ 241383 w 1785077"/>
              <a:gd name="connsiteY300" fmla="*/ 74352 h 463366"/>
              <a:gd name="connsiteX301" fmla="*/ 247637 w 1785077"/>
              <a:gd name="connsiteY301" fmla="*/ 123760 h 463366"/>
              <a:gd name="connsiteX302" fmla="*/ 192849 w 1785077"/>
              <a:gd name="connsiteY302" fmla="*/ 146131 h 463366"/>
              <a:gd name="connsiteX303" fmla="*/ 138151 w 1785077"/>
              <a:gd name="connsiteY303" fmla="*/ 123610 h 463366"/>
              <a:gd name="connsiteX304" fmla="*/ 144285 w 1785077"/>
              <a:gd name="connsiteY304" fmla="*/ 111587 h 463366"/>
              <a:gd name="connsiteX305" fmla="*/ 147574 w 1785077"/>
              <a:gd name="connsiteY305" fmla="*/ 93063 h 463366"/>
              <a:gd name="connsiteX306" fmla="*/ 137965 w 1785077"/>
              <a:gd name="connsiteY306" fmla="*/ 62101 h 463366"/>
              <a:gd name="connsiteX307" fmla="*/ 111700 w 1785077"/>
              <a:gd name="connsiteY307" fmla="*/ 41782 h 463366"/>
              <a:gd name="connsiteX308" fmla="*/ 90289 w 1785077"/>
              <a:gd name="connsiteY308" fmla="*/ 38556 h 463366"/>
              <a:gd name="connsiteX309" fmla="*/ 41831 w 1785077"/>
              <a:gd name="connsiteY309" fmla="*/ 74352 h 463366"/>
              <a:gd name="connsiteX310" fmla="*/ 74417 w 1785077"/>
              <a:gd name="connsiteY310" fmla="*/ 144187 h 463366"/>
              <a:gd name="connsiteX311" fmla="*/ 123849 w 1785077"/>
              <a:gd name="connsiteY311" fmla="*/ 137936 h 463366"/>
              <a:gd name="connsiteX312" fmla="*/ 146231 w 1785077"/>
              <a:gd name="connsiteY312" fmla="*/ 192668 h 463366"/>
              <a:gd name="connsiteX313" fmla="*/ 123699 w 1785077"/>
              <a:gd name="connsiteY313" fmla="*/ 247340 h 463366"/>
              <a:gd name="connsiteX314" fmla="*/ 111670 w 1785077"/>
              <a:gd name="connsiteY314" fmla="*/ 241209 h 463366"/>
              <a:gd name="connsiteX315" fmla="*/ 93118 w 1785077"/>
              <a:gd name="connsiteY315" fmla="*/ 237919 h 463366"/>
              <a:gd name="connsiteX316" fmla="*/ 93128 w 1785077"/>
              <a:gd name="connsiteY316" fmla="*/ 237895 h 463366"/>
              <a:gd name="connsiteX317" fmla="*/ 62160 w 1785077"/>
              <a:gd name="connsiteY317" fmla="*/ 247497 h 463366"/>
              <a:gd name="connsiteX318" fmla="*/ 41831 w 1785077"/>
              <a:gd name="connsiteY318" fmla="*/ 273749 h 463366"/>
              <a:gd name="connsiteX319" fmla="*/ 74417 w 1785077"/>
              <a:gd name="connsiteY319" fmla="*/ 343584 h 463366"/>
              <a:gd name="connsiteX320" fmla="*/ 144286 w 1785077"/>
              <a:gd name="connsiteY320" fmla="*/ 311014 h 463366"/>
              <a:gd name="connsiteX321" fmla="*/ 138032 w 1785077"/>
              <a:gd name="connsiteY321" fmla="*/ 261606 h 463366"/>
              <a:gd name="connsiteX322" fmla="*/ 192820 w 1785077"/>
              <a:gd name="connsiteY322" fmla="*/ 239235 h 463366"/>
              <a:gd name="connsiteX323" fmla="*/ 247458 w 1785077"/>
              <a:gd name="connsiteY323" fmla="*/ 261785 h 463366"/>
              <a:gd name="connsiteX324" fmla="*/ 241324 w 1785077"/>
              <a:gd name="connsiteY324" fmla="*/ 273808 h 463366"/>
              <a:gd name="connsiteX325" fmla="*/ 238035 w 1785077"/>
              <a:gd name="connsiteY325" fmla="*/ 292332 h 463366"/>
              <a:gd name="connsiteX326" fmla="*/ 247644 w 1785077"/>
              <a:gd name="connsiteY326" fmla="*/ 323295 h 463366"/>
              <a:gd name="connsiteX327" fmla="*/ 273909 w 1785077"/>
              <a:gd name="connsiteY327" fmla="*/ 343614 h 463366"/>
              <a:gd name="connsiteX328" fmla="*/ 343778 w 1785077"/>
              <a:gd name="connsiteY328" fmla="*/ 311044 h 463366"/>
              <a:gd name="connsiteX329" fmla="*/ 311192 w 1785077"/>
              <a:gd name="connsiteY329" fmla="*/ 241208 h 463366"/>
              <a:gd name="connsiteX330" fmla="*/ 261760 w 1785077"/>
              <a:gd name="connsiteY330" fmla="*/ 247459 h 463366"/>
              <a:gd name="connsiteX331" fmla="*/ 239379 w 1785077"/>
              <a:gd name="connsiteY331" fmla="*/ 192697 h 463366"/>
              <a:gd name="connsiteX332" fmla="*/ 261940 w 1785077"/>
              <a:gd name="connsiteY332" fmla="*/ 138115 h 463366"/>
              <a:gd name="connsiteX333" fmla="*/ 273969 w 1785077"/>
              <a:gd name="connsiteY333" fmla="*/ 144246 h 463366"/>
              <a:gd name="connsiteX334" fmla="*/ 292497 w 1785077"/>
              <a:gd name="connsiteY334" fmla="*/ 147532 h 463366"/>
              <a:gd name="connsiteX335" fmla="*/ 292520 w 1785077"/>
              <a:gd name="connsiteY335" fmla="*/ 147477 h 463366"/>
              <a:gd name="connsiteX336" fmla="*/ 343837 w 1785077"/>
              <a:gd name="connsiteY336" fmla="*/ 111617 h 463366"/>
              <a:gd name="connsiteX337" fmla="*/ 311252 w 1785077"/>
              <a:gd name="connsiteY337" fmla="*/ 41782 h 463366"/>
              <a:gd name="connsiteX338" fmla="*/ 289840 w 1785077"/>
              <a:gd name="connsiteY338" fmla="*/ 38556 h 463366"/>
              <a:gd name="connsiteX339" fmla="*/ 1232142 w 1785077"/>
              <a:gd name="connsiteY339" fmla="*/ 4755 h 463366"/>
              <a:gd name="connsiteX340" fmla="*/ 1283310 w 1785077"/>
              <a:gd name="connsiteY340" fmla="*/ 4755 h 463366"/>
              <a:gd name="connsiteX341" fmla="*/ 1283310 w 1785077"/>
              <a:gd name="connsiteY341" fmla="*/ 293099 h 463366"/>
              <a:gd name="connsiteX342" fmla="*/ 1232142 w 1785077"/>
              <a:gd name="connsiteY342" fmla="*/ 293099 h 463366"/>
              <a:gd name="connsiteX343" fmla="*/ 1232142 w 1785077"/>
              <a:gd name="connsiteY343" fmla="*/ 156868 h 463366"/>
              <a:gd name="connsiteX344" fmla="*/ 93029 w 1785077"/>
              <a:gd name="connsiteY344" fmla="*/ 0 h 463366"/>
              <a:gd name="connsiteX345" fmla="*/ 186087 w 1785077"/>
              <a:gd name="connsiteY345" fmla="*/ 92984 h 463366"/>
              <a:gd name="connsiteX346" fmla="*/ 184801 w 1785077"/>
              <a:gd name="connsiteY346" fmla="*/ 108375 h 463366"/>
              <a:gd name="connsiteX347" fmla="*/ 192819 w 1785077"/>
              <a:gd name="connsiteY347" fmla="*/ 111677 h 463366"/>
              <a:gd name="connsiteX348" fmla="*/ 200808 w 1785077"/>
              <a:gd name="connsiteY348" fmla="*/ 108387 h 463366"/>
              <a:gd name="connsiteX349" fmla="*/ 199552 w 1785077"/>
              <a:gd name="connsiteY349" fmla="*/ 92984 h 463366"/>
              <a:gd name="connsiteX350" fmla="*/ 292580 w 1785077"/>
              <a:gd name="connsiteY350" fmla="*/ 0 h 463366"/>
              <a:gd name="connsiteX351" fmla="*/ 385609 w 1785077"/>
              <a:gd name="connsiteY351" fmla="*/ 92984 h 463366"/>
              <a:gd name="connsiteX352" fmla="*/ 292580 w 1785077"/>
              <a:gd name="connsiteY352" fmla="*/ 185969 h 463366"/>
              <a:gd name="connsiteX353" fmla="*/ 277196 w 1785077"/>
              <a:gd name="connsiteY353" fmla="*/ 184685 h 463366"/>
              <a:gd name="connsiteX354" fmla="*/ 273879 w 1785077"/>
              <a:gd name="connsiteY354" fmla="*/ 192727 h 463366"/>
              <a:gd name="connsiteX355" fmla="*/ 277170 w 1785077"/>
              <a:gd name="connsiteY355" fmla="*/ 200713 h 463366"/>
              <a:gd name="connsiteX356" fmla="*/ 292580 w 1785077"/>
              <a:gd name="connsiteY356" fmla="*/ 199427 h 463366"/>
              <a:gd name="connsiteX357" fmla="*/ 385579 w 1785077"/>
              <a:gd name="connsiteY357" fmla="*/ 292411 h 463366"/>
              <a:gd name="connsiteX358" fmla="*/ 292551 w 1785077"/>
              <a:gd name="connsiteY358" fmla="*/ 385395 h 463366"/>
              <a:gd name="connsiteX359" fmla="*/ 199522 w 1785077"/>
              <a:gd name="connsiteY359" fmla="*/ 292411 h 463366"/>
              <a:gd name="connsiteX360" fmla="*/ 200808 w 1785077"/>
              <a:gd name="connsiteY360" fmla="*/ 277021 h 463366"/>
              <a:gd name="connsiteX361" fmla="*/ 192790 w 1785077"/>
              <a:gd name="connsiteY361" fmla="*/ 273719 h 463366"/>
              <a:gd name="connsiteX362" fmla="*/ 184770 w 1785077"/>
              <a:gd name="connsiteY362" fmla="*/ 277009 h 463366"/>
              <a:gd name="connsiteX363" fmla="*/ 186057 w 1785077"/>
              <a:gd name="connsiteY363" fmla="*/ 292411 h 463366"/>
              <a:gd name="connsiteX364" fmla="*/ 93029 w 1785077"/>
              <a:gd name="connsiteY364" fmla="*/ 385396 h 463366"/>
              <a:gd name="connsiteX365" fmla="*/ 0 w 1785077"/>
              <a:gd name="connsiteY365" fmla="*/ 292411 h 463366"/>
              <a:gd name="connsiteX366" fmla="*/ 93058 w 1785077"/>
              <a:gd name="connsiteY366" fmla="*/ 199367 h 463366"/>
              <a:gd name="connsiteX367" fmla="*/ 108458 w 1785077"/>
              <a:gd name="connsiteY367" fmla="*/ 200682 h 463366"/>
              <a:gd name="connsiteX368" fmla="*/ 111760 w 1785077"/>
              <a:gd name="connsiteY368" fmla="*/ 192668 h 463366"/>
              <a:gd name="connsiteX369" fmla="*/ 108439 w 1785077"/>
              <a:gd name="connsiteY369" fmla="*/ 184713 h 463366"/>
              <a:gd name="connsiteX370" fmla="*/ 93029 w 1785077"/>
              <a:gd name="connsiteY370" fmla="*/ 185939 h 463366"/>
              <a:gd name="connsiteX371" fmla="*/ 0 w 1785077"/>
              <a:gd name="connsiteY371" fmla="*/ 92984 h 463366"/>
              <a:gd name="connsiteX372" fmla="*/ 93029 w 1785077"/>
              <a:gd name="connsiteY372" fmla="*/ 0 h 463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Lst>
            <a:rect l="l" t="t" r="r" b="b"/>
            <a:pathLst>
              <a:path w="1785077" h="463366">
                <a:moveTo>
                  <a:pt x="609398" y="422691"/>
                </a:moveTo>
                <a:lnTo>
                  <a:pt x="609398" y="445690"/>
                </a:lnTo>
                <a:lnTo>
                  <a:pt x="628578" y="445690"/>
                </a:lnTo>
                <a:lnTo>
                  <a:pt x="628578" y="445720"/>
                </a:lnTo>
                <a:cubicBezTo>
                  <a:pt x="636538" y="445720"/>
                  <a:pt x="642372" y="440905"/>
                  <a:pt x="642372" y="434206"/>
                </a:cubicBezTo>
                <a:cubicBezTo>
                  <a:pt x="642372" y="427506"/>
                  <a:pt x="636538" y="422691"/>
                  <a:pt x="628578" y="422691"/>
                </a:cubicBezTo>
                <a:close/>
                <a:moveTo>
                  <a:pt x="1511976" y="407797"/>
                </a:moveTo>
                <a:cubicBezTo>
                  <a:pt x="1501473" y="407797"/>
                  <a:pt x="1493932" y="416470"/>
                  <a:pt x="1493932" y="427387"/>
                </a:cubicBezTo>
                <a:cubicBezTo>
                  <a:pt x="1493932" y="438303"/>
                  <a:pt x="1501473" y="447126"/>
                  <a:pt x="1511976" y="447126"/>
                </a:cubicBezTo>
                <a:cubicBezTo>
                  <a:pt x="1522508" y="447156"/>
                  <a:pt x="1530019" y="438333"/>
                  <a:pt x="1530019" y="427387"/>
                </a:cubicBezTo>
                <a:cubicBezTo>
                  <a:pt x="1530019" y="416440"/>
                  <a:pt x="1522478" y="407797"/>
                  <a:pt x="1511976" y="407797"/>
                </a:cubicBezTo>
                <a:close/>
                <a:moveTo>
                  <a:pt x="1181094" y="407797"/>
                </a:moveTo>
                <a:cubicBezTo>
                  <a:pt x="1170592" y="407797"/>
                  <a:pt x="1163051" y="416470"/>
                  <a:pt x="1163051" y="427387"/>
                </a:cubicBezTo>
                <a:cubicBezTo>
                  <a:pt x="1163051" y="438303"/>
                  <a:pt x="1170592" y="447126"/>
                  <a:pt x="1181094" y="447126"/>
                </a:cubicBezTo>
                <a:cubicBezTo>
                  <a:pt x="1191627" y="447156"/>
                  <a:pt x="1199137" y="438333"/>
                  <a:pt x="1199137" y="427387"/>
                </a:cubicBezTo>
                <a:cubicBezTo>
                  <a:pt x="1199137" y="416440"/>
                  <a:pt x="1191597" y="407797"/>
                  <a:pt x="1181094" y="407797"/>
                </a:cubicBezTo>
                <a:close/>
                <a:moveTo>
                  <a:pt x="1051680" y="407797"/>
                </a:moveTo>
                <a:cubicBezTo>
                  <a:pt x="1041177" y="407797"/>
                  <a:pt x="1033637" y="416470"/>
                  <a:pt x="1033637" y="427387"/>
                </a:cubicBezTo>
                <a:cubicBezTo>
                  <a:pt x="1033637" y="438303"/>
                  <a:pt x="1041177" y="447126"/>
                  <a:pt x="1051680" y="447126"/>
                </a:cubicBezTo>
                <a:cubicBezTo>
                  <a:pt x="1062183" y="447126"/>
                  <a:pt x="1069723" y="438333"/>
                  <a:pt x="1069723" y="427387"/>
                </a:cubicBezTo>
                <a:cubicBezTo>
                  <a:pt x="1069723" y="416440"/>
                  <a:pt x="1062183" y="407797"/>
                  <a:pt x="1051680" y="407797"/>
                </a:cubicBezTo>
                <a:close/>
                <a:moveTo>
                  <a:pt x="859459" y="407797"/>
                </a:moveTo>
                <a:cubicBezTo>
                  <a:pt x="848956" y="407797"/>
                  <a:pt x="841416" y="416470"/>
                  <a:pt x="841416" y="427387"/>
                </a:cubicBezTo>
                <a:cubicBezTo>
                  <a:pt x="841416" y="438303"/>
                  <a:pt x="848956" y="447126"/>
                  <a:pt x="859459" y="447126"/>
                </a:cubicBezTo>
                <a:cubicBezTo>
                  <a:pt x="869962" y="447156"/>
                  <a:pt x="877502" y="438333"/>
                  <a:pt x="877502" y="427387"/>
                </a:cubicBezTo>
                <a:cubicBezTo>
                  <a:pt x="877502" y="416440"/>
                  <a:pt x="869962" y="407797"/>
                  <a:pt x="859459" y="407797"/>
                </a:cubicBezTo>
                <a:close/>
                <a:moveTo>
                  <a:pt x="1432981" y="406242"/>
                </a:moveTo>
                <a:cubicBezTo>
                  <a:pt x="1424752" y="406242"/>
                  <a:pt x="1418797" y="411924"/>
                  <a:pt x="1416643" y="420149"/>
                </a:cubicBezTo>
                <a:lnTo>
                  <a:pt x="1449169" y="420149"/>
                </a:lnTo>
                <a:cubicBezTo>
                  <a:pt x="1447044" y="411057"/>
                  <a:pt x="1440940" y="406242"/>
                  <a:pt x="1432981" y="406242"/>
                </a:cubicBezTo>
                <a:close/>
                <a:moveTo>
                  <a:pt x="705000" y="406242"/>
                </a:moveTo>
                <a:cubicBezTo>
                  <a:pt x="696771" y="406242"/>
                  <a:pt x="690817" y="411924"/>
                  <a:pt x="688662" y="420149"/>
                </a:cubicBezTo>
                <a:lnTo>
                  <a:pt x="721188" y="420149"/>
                </a:lnTo>
                <a:cubicBezTo>
                  <a:pt x="719063" y="411057"/>
                  <a:pt x="712959" y="406242"/>
                  <a:pt x="705000" y="406242"/>
                </a:cubicBezTo>
                <a:close/>
                <a:moveTo>
                  <a:pt x="986749" y="393441"/>
                </a:moveTo>
                <a:lnTo>
                  <a:pt x="1004074" y="393441"/>
                </a:lnTo>
                <a:lnTo>
                  <a:pt x="1004074" y="434654"/>
                </a:lnTo>
                <a:lnTo>
                  <a:pt x="1004074" y="461482"/>
                </a:lnTo>
                <a:lnTo>
                  <a:pt x="986749" y="461482"/>
                </a:lnTo>
                <a:close/>
                <a:moveTo>
                  <a:pt x="904881" y="393441"/>
                </a:moveTo>
                <a:lnTo>
                  <a:pt x="923912" y="393441"/>
                </a:lnTo>
                <a:lnTo>
                  <a:pt x="941237" y="445989"/>
                </a:lnTo>
                <a:lnTo>
                  <a:pt x="958861" y="393441"/>
                </a:lnTo>
                <a:lnTo>
                  <a:pt x="976635" y="393441"/>
                </a:lnTo>
                <a:lnTo>
                  <a:pt x="952069" y="461482"/>
                </a:lnTo>
                <a:lnTo>
                  <a:pt x="929477" y="461482"/>
                </a:lnTo>
                <a:close/>
                <a:moveTo>
                  <a:pt x="1509133" y="391646"/>
                </a:moveTo>
                <a:cubicBezTo>
                  <a:pt x="1518379" y="391646"/>
                  <a:pt x="1525471" y="395774"/>
                  <a:pt x="1530019" y="402443"/>
                </a:cubicBezTo>
                <a:lnTo>
                  <a:pt x="1530019" y="393471"/>
                </a:lnTo>
                <a:lnTo>
                  <a:pt x="1547344" y="393471"/>
                </a:lnTo>
                <a:lnTo>
                  <a:pt x="1547344" y="461512"/>
                </a:lnTo>
                <a:lnTo>
                  <a:pt x="1530019" y="461512"/>
                </a:lnTo>
                <a:lnTo>
                  <a:pt x="1530019" y="451851"/>
                </a:lnTo>
                <a:cubicBezTo>
                  <a:pt x="1525471" y="458820"/>
                  <a:pt x="1518379" y="463366"/>
                  <a:pt x="1509133" y="463366"/>
                </a:cubicBezTo>
                <a:cubicBezTo>
                  <a:pt x="1491239" y="463366"/>
                  <a:pt x="1476607" y="448741"/>
                  <a:pt x="1476607" y="427446"/>
                </a:cubicBezTo>
                <a:cubicBezTo>
                  <a:pt x="1476607" y="406989"/>
                  <a:pt x="1490402" y="391646"/>
                  <a:pt x="1509133" y="391646"/>
                </a:cubicBezTo>
                <a:close/>
                <a:moveTo>
                  <a:pt x="1432681" y="391646"/>
                </a:moveTo>
                <a:cubicBezTo>
                  <a:pt x="1452161" y="391646"/>
                  <a:pt x="1467062" y="406571"/>
                  <a:pt x="1467062" y="426160"/>
                </a:cubicBezTo>
                <a:cubicBezTo>
                  <a:pt x="1467092" y="428403"/>
                  <a:pt x="1466942" y="431095"/>
                  <a:pt x="1466673" y="432232"/>
                </a:cubicBezTo>
                <a:lnTo>
                  <a:pt x="1416224" y="432232"/>
                </a:lnTo>
                <a:cubicBezTo>
                  <a:pt x="1418079" y="441593"/>
                  <a:pt x="1425171" y="448143"/>
                  <a:pt x="1435554" y="448143"/>
                </a:cubicBezTo>
                <a:cubicBezTo>
                  <a:pt x="1442526" y="448143"/>
                  <a:pt x="1448331" y="445152"/>
                  <a:pt x="1452310" y="441055"/>
                </a:cubicBezTo>
                <a:lnTo>
                  <a:pt x="1461257" y="452988"/>
                </a:lnTo>
                <a:cubicBezTo>
                  <a:pt x="1455991" y="458820"/>
                  <a:pt x="1446326" y="463366"/>
                  <a:pt x="1434955" y="463366"/>
                </a:cubicBezTo>
                <a:cubicBezTo>
                  <a:pt x="1413771" y="463366"/>
                  <a:pt x="1398450" y="447305"/>
                  <a:pt x="1398450" y="427446"/>
                </a:cubicBezTo>
                <a:cubicBezTo>
                  <a:pt x="1398450" y="407707"/>
                  <a:pt x="1413082" y="391646"/>
                  <a:pt x="1432681" y="391646"/>
                </a:cubicBezTo>
                <a:close/>
                <a:moveTo>
                  <a:pt x="1178252" y="391646"/>
                </a:moveTo>
                <a:cubicBezTo>
                  <a:pt x="1187498" y="391646"/>
                  <a:pt x="1194589" y="395774"/>
                  <a:pt x="1199137" y="402443"/>
                </a:cubicBezTo>
                <a:lnTo>
                  <a:pt x="1199137" y="393471"/>
                </a:lnTo>
                <a:lnTo>
                  <a:pt x="1216463" y="393471"/>
                </a:lnTo>
                <a:lnTo>
                  <a:pt x="1216463" y="461512"/>
                </a:lnTo>
                <a:lnTo>
                  <a:pt x="1199137" y="461512"/>
                </a:lnTo>
                <a:lnTo>
                  <a:pt x="1199137" y="451851"/>
                </a:lnTo>
                <a:cubicBezTo>
                  <a:pt x="1194589" y="458820"/>
                  <a:pt x="1187498" y="463366"/>
                  <a:pt x="1178252" y="463366"/>
                </a:cubicBezTo>
                <a:cubicBezTo>
                  <a:pt x="1160358" y="463366"/>
                  <a:pt x="1145726" y="448741"/>
                  <a:pt x="1145726" y="427446"/>
                </a:cubicBezTo>
                <a:cubicBezTo>
                  <a:pt x="1145726" y="406989"/>
                  <a:pt x="1159520" y="391646"/>
                  <a:pt x="1178252" y="391646"/>
                </a:cubicBezTo>
                <a:close/>
                <a:moveTo>
                  <a:pt x="856616" y="391646"/>
                </a:moveTo>
                <a:cubicBezTo>
                  <a:pt x="865862" y="391646"/>
                  <a:pt x="872954" y="395774"/>
                  <a:pt x="877502" y="402443"/>
                </a:cubicBezTo>
                <a:lnTo>
                  <a:pt x="877502" y="393471"/>
                </a:lnTo>
                <a:lnTo>
                  <a:pt x="894827" y="393471"/>
                </a:lnTo>
                <a:lnTo>
                  <a:pt x="894827" y="461512"/>
                </a:lnTo>
                <a:lnTo>
                  <a:pt x="877502" y="461512"/>
                </a:lnTo>
                <a:lnTo>
                  <a:pt x="877502" y="451851"/>
                </a:lnTo>
                <a:cubicBezTo>
                  <a:pt x="872954" y="458820"/>
                  <a:pt x="865862" y="463366"/>
                  <a:pt x="856616" y="463366"/>
                </a:cubicBezTo>
                <a:cubicBezTo>
                  <a:pt x="838723" y="463366"/>
                  <a:pt x="824091" y="448741"/>
                  <a:pt x="824091" y="427446"/>
                </a:cubicBezTo>
                <a:cubicBezTo>
                  <a:pt x="824091" y="406989"/>
                  <a:pt x="837885" y="391646"/>
                  <a:pt x="856616" y="391646"/>
                </a:cubicBezTo>
                <a:close/>
                <a:moveTo>
                  <a:pt x="704701" y="391646"/>
                </a:moveTo>
                <a:cubicBezTo>
                  <a:pt x="724180" y="391646"/>
                  <a:pt x="739081" y="406571"/>
                  <a:pt x="739081" y="426160"/>
                </a:cubicBezTo>
                <a:cubicBezTo>
                  <a:pt x="739111" y="428403"/>
                  <a:pt x="738962" y="431095"/>
                  <a:pt x="738692" y="432232"/>
                </a:cubicBezTo>
                <a:lnTo>
                  <a:pt x="688243" y="432232"/>
                </a:lnTo>
                <a:cubicBezTo>
                  <a:pt x="690099" y="441593"/>
                  <a:pt x="697190" y="448143"/>
                  <a:pt x="707573" y="448143"/>
                </a:cubicBezTo>
                <a:cubicBezTo>
                  <a:pt x="714545" y="448143"/>
                  <a:pt x="720350" y="445152"/>
                  <a:pt x="724330" y="441055"/>
                </a:cubicBezTo>
                <a:lnTo>
                  <a:pt x="733276" y="452988"/>
                </a:lnTo>
                <a:cubicBezTo>
                  <a:pt x="728010" y="458820"/>
                  <a:pt x="718345" y="463366"/>
                  <a:pt x="706975" y="463366"/>
                </a:cubicBezTo>
                <a:cubicBezTo>
                  <a:pt x="685790" y="463366"/>
                  <a:pt x="670469" y="447305"/>
                  <a:pt x="670469" y="427446"/>
                </a:cubicBezTo>
                <a:cubicBezTo>
                  <a:pt x="670469" y="407707"/>
                  <a:pt x="685102" y="391646"/>
                  <a:pt x="704701" y="391646"/>
                </a:cubicBezTo>
                <a:close/>
                <a:moveTo>
                  <a:pt x="1051680" y="391616"/>
                </a:moveTo>
                <a:cubicBezTo>
                  <a:pt x="1071429" y="391616"/>
                  <a:pt x="1087048" y="407677"/>
                  <a:pt x="1087048" y="427417"/>
                </a:cubicBezTo>
                <a:cubicBezTo>
                  <a:pt x="1087048" y="447305"/>
                  <a:pt x="1071429" y="463336"/>
                  <a:pt x="1051680" y="463336"/>
                </a:cubicBezTo>
                <a:cubicBezTo>
                  <a:pt x="1031931" y="463336"/>
                  <a:pt x="1016312" y="447276"/>
                  <a:pt x="1016312" y="427417"/>
                </a:cubicBezTo>
                <a:cubicBezTo>
                  <a:pt x="1016312" y="407647"/>
                  <a:pt x="1031931" y="391616"/>
                  <a:pt x="1051680" y="391616"/>
                </a:cubicBezTo>
                <a:close/>
                <a:moveTo>
                  <a:pt x="1133219" y="391587"/>
                </a:moveTo>
                <a:cubicBezTo>
                  <a:pt x="1137767" y="391616"/>
                  <a:pt x="1141477" y="392753"/>
                  <a:pt x="1144020" y="394876"/>
                </a:cubicBezTo>
                <a:lnTo>
                  <a:pt x="1136929" y="411206"/>
                </a:lnTo>
                <a:cubicBezTo>
                  <a:pt x="1134655" y="409502"/>
                  <a:pt x="1131244" y="408365"/>
                  <a:pt x="1127833" y="408365"/>
                </a:cubicBezTo>
                <a:cubicBezTo>
                  <a:pt x="1121010" y="408365"/>
                  <a:pt x="1116462" y="414197"/>
                  <a:pt x="1116462" y="423409"/>
                </a:cubicBezTo>
                <a:lnTo>
                  <a:pt x="1116462" y="461482"/>
                </a:lnTo>
                <a:lnTo>
                  <a:pt x="1099137" y="461482"/>
                </a:lnTo>
                <a:lnTo>
                  <a:pt x="1099137" y="393441"/>
                </a:lnTo>
                <a:lnTo>
                  <a:pt x="1116462" y="393441"/>
                </a:lnTo>
                <a:lnTo>
                  <a:pt x="1116462" y="403520"/>
                </a:lnTo>
                <a:cubicBezTo>
                  <a:pt x="1119724" y="396282"/>
                  <a:pt x="1125558" y="391587"/>
                  <a:pt x="1133219" y="391587"/>
                </a:cubicBezTo>
                <a:close/>
                <a:moveTo>
                  <a:pt x="609398" y="386173"/>
                </a:moveTo>
                <a:lnTo>
                  <a:pt x="609398" y="386203"/>
                </a:lnTo>
                <a:lnTo>
                  <a:pt x="609398" y="408066"/>
                </a:lnTo>
                <a:lnTo>
                  <a:pt x="626603" y="408066"/>
                </a:lnTo>
                <a:cubicBezTo>
                  <a:pt x="634413" y="408066"/>
                  <a:pt x="639829" y="403520"/>
                  <a:pt x="639829" y="397120"/>
                </a:cubicBezTo>
                <a:cubicBezTo>
                  <a:pt x="639829" y="390719"/>
                  <a:pt x="634293" y="386173"/>
                  <a:pt x="626603" y="386173"/>
                </a:cubicBezTo>
                <a:close/>
                <a:moveTo>
                  <a:pt x="1608595" y="375855"/>
                </a:moveTo>
                <a:lnTo>
                  <a:pt x="1626069" y="375855"/>
                </a:lnTo>
                <a:lnTo>
                  <a:pt x="1626069" y="393471"/>
                </a:lnTo>
                <a:lnTo>
                  <a:pt x="1644412" y="393471"/>
                </a:lnTo>
                <a:lnTo>
                  <a:pt x="1644412" y="408814"/>
                </a:lnTo>
                <a:lnTo>
                  <a:pt x="1626219" y="408814"/>
                </a:lnTo>
                <a:lnTo>
                  <a:pt x="1626219" y="437795"/>
                </a:lnTo>
                <a:cubicBezTo>
                  <a:pt x="1626219" y="444195"/>
                  <a:pt x="1628763" y="447156"/>
                  <a:pt x="1633879" y="447156"/>
                </a:cubicBezTo>
                <a:cubicBezTo>
                  <a:pt x="1637141" y="447156"/>
                  <a:pt x="1640283" y="445720"/>
                  <a:pt x="1641988" y="443746"/>
                </a:cubicBezTo>
                <a:lnTo>
                  <a:pt x="1649648" y="456667"/>
                </a:lnTo>
                <a:cubicBezTo>
                  <a:pt x="1645968" y="460345"/>
                  <a:pt x="1639564" y="463336"/>
                  <a:pt x="1631186" y="463336"/>
                </a:cubicBezTo>
                <a:cubicBezTo>
                  <a:pt x="1617392" y="463336"/>
                  <a:pt x="1608595" y="454812"/>
                  <a:pt x="1608595" y="438213"/>
                </a:cubicBezTo>
                <a:lnTo>
                  <a:pt x="1608595" y="408814"/>
                </a:lnTo>
                <a:lnTo>
                  <a:pt x="1596656" y="408814"/>
                </a:lnTo>
                <a:lnTo>
                  <a:pt x="1596656" y="393471"/>
                </a:lnTo>
                <a:lnTo>
                  <a:pt x="1608595" y="393471"/>
                </a:lnTo>
                <a:close/>
                <a:moveTo>
                  <a:pt x="591654" y="370591"/>
                </a:moveTo>
                <a:lnTo>
                  <a:pt x="591804" y="370591"/>
                </a:lnTo>
                <a:cubicBezTo>
                  <a:pt x="592103" y="370591"/>
                  <a:pt x="609428" y="370591"/>
                  <a:pt x="609428" y="370591"/>
                </a:cubicBezTo>
                <a:lnTo>
                  <a:pt x="628339" y="370591"/>
                </a:lnTo>
                <a:cubicBezTo>
                  <a:pt x="645395" y="370591"/>
                  <a:pt x="658321" y="380969"/>
                  <a:pt x="658321" y="395714"/>
                </a:cubicBezTo>
                <a:cubicBezTo>
                  <a:pt x="658321" y="406361"/>
                  <a:pt x="650930" y="412193"/>
                  <a:pt x="644826" y="414735"/>
                </a:cubicBezTo>
                <a:cubicBezTo>
                  <a:pt x="653743" y="417457"/>
                  <a:pt x="660834" y="424545"/>
                  <a:pt x="660834" y="435910"/>
                </a:cubicBezTo>
                <a:cubicBezTo>
                  <a:pt x="660834" y="449549"/>
                  <a:pt x="650182" y="461482"/>
                  <a:pt x="630433" y="461482"/>
                </a:cubicBezTo>
                <a:lnTo>
                  <a:pt x="591654" y="461482"/>
                </a:lnTo>
                <a:close/>
                <a:moveTo>
                  <a:pt x="1306678" y="370442"/>
                </a:moveTo>
                <a:lnTo>
                  <a:pt x="1324452" y="370442"/>
                </a:lnTo>
                <a:lnTo>
                  <a:pt x="1324452" y="406660"/>
                </a:lnTo>
                <a:lnTo>
                  <a:pt x="1367929" y="406660"/>
                </a:lnTo>
                <a:lnTo>
                  <a:pt x="1367929" y="370442"/>
                </a:lnTo>
                <a:lnTo>
                  <a:pt x="1385703" y="370442"/>
                </a:lnTo>
                <a:lnTo>
                  <a:pt x="1385703" y="461482"/>
                </a:lnTo>
                <a:lnTo>
                  <a:pt x="1367929" y="461482"/>
                </a:lnTo>
                <a:lnTo>
                  <a:pt x="1367929" y="423289"/>
                </a:lnTo>
                <a:lnTo>
                  <a:pt x="1324452" y="423289"/>
                </a:lnTo>
                <a:lnTo>
                  <a:pt x="1324452" y="461482"/>
                </a:lnTo>
                <a:lnTo>
                  <a:pt x="1306678" y="461482"/>
                </a:lnTo>
                <a:close/>
                <a:moveTo>
                  <a:pt x="995426" y="364071"/>
                </a:moveTo>
                <a:cubicBezTo>
                  <a:pt x="1000962" y="364071"/>
                  <a:pt x="1005660" y="368617"/>
                  <a:pt x="1005660" y="374150"/>
                </a:cubicBezTo>
                <a:cubicBezTo>
                  <a:pt x="1005660" y="379833"/>
                  <a:pt x="1000962" y="384379"/>
                  <a:pt x="995426" y="384379"/>
                </a:cubicBezTo>
                <a:cubicBezTo>
                  <a:pt x="989741" y="384379"/>
                  <a:pt x="985342" y="379833"/>
                  <a:pt x="985342" y="374150"/>
                </a:cubicBezTo>
                <a:cubicBezTo>
                  <a:pt x="985342" y="368617"/>
                  <a:pt x="989741" y="364071"/>
                  <a:pt x="995426" y="364071"/>
                </a:cubicBezTo>
                <a:close/>
                <a:moveTo>
                  <a:pt x="1563831" y="363802"/>
                </a:moveTo>
                <a:lnTo>
                  <a:pt x="1581156" y="363802"/>
                </a:lnTo>
                <a:lnTo>
                  <a:pt x="1581156" y="439918"/>
                </a:lnTo>
                <a:cubicBezTo>
                  <a:pt x="1581156" y="445182"/>
                  <a:pt x="1584148" y="447156"/>
                  <a:pt x="1587260" y="447156"/>
                </a:cubicBezTo>
                <a:cubicBezTo>
                  <a:pt x="1588128" y="447156"/>
                  <a:pt x="1589265" y="446857"/>
                  <a:pt x="1590103" y="446438"/>
                </a:cubicBezTo>
                <a:lnTo>
                  <a:pt x="1591958" y="461631"/>
                </a:lnTo>
                <a:cubicBezTo>
                  <a:pt x="1589415" y="462499"/>
                  <a:pt x="1586123" y="463067"/>
                  <a:pt x="1583580" y="463067"/>
                </a:cubicBezTo>
                <a:cubicBezTo>
                  <a:pt x="1573765" y="463067"/>
                  <a:pt x="1563831" y="456816"/>
                  <a:pt x="1563831" y="439499"/>
                </a:cubicBezTo>
                <a:close/>
                <a:moveTo>
                  <a:pt x="1232950" y="363802"/>
                </a:moveTo>
                <a:lnTo>
                  <a:pt x="1250275" y="363802"/>
                </a:lnTo>
                <a:lnTo>
                  <a:pt x="1250275" y="439918"/>
                </a:lnTo>
                <a:cubicBezTo>
                  <a:pt x="1250275" y="445182"/>
                  <a:pt x="1253267" y="447156"/>
                  <a:pt x="1256379" y="447156"/>
                </a:cubicBezTo>
                <a:cubicBezTo>
                  <a:pt x="1257247" y="447156"/>
                  <a:pt x="1258384" y="446857"/>
                  <a:pt x="1259222" y="446438"/>
                </a:cubicBezTo>
                <a:lnTo>
                  <a:pt x="1261077" y="461631"/>
                </a:lnTo>
                <a:cubicBezTo>
                  <a:pt x="1258533" y="462499"/>
                  <a:pt x="1255242" y="463067"/>
                  <a:pt x="1252698" y="463067"/>
                </a:cubicBezTo>
                <a:cubicBezTo>
                  <a:pt x="1242884" y="463067"/>
                  <a:pt x="1232950" y="456816"/>
                  <a:pt x="1232950" y="439499"/>
                </a:cubicBezTo>
                <a:close/>
                <a:moveTo>
                  <a:pt x="1661168" y="363772"/>
                </a:moveTo>
                <a:lnTo>
                  <a:pt x="1678494" y="363772"/>
                </a:lnTo>
                <a:lnTo>
                  <a:pt x="1678494" y="403101"/>
                </a:lnTo>
                <a:cubicBezTo>
                  <a:pt x="1682054" y="395863"/>
                  <a:pt x="1688876" y="391587"/>
                  <a:pt x="1697823" y="391587"/>
                </a:cubicBezTo>
                <a:cubicBezTo>
                  <a:pt x="1713443" y="391616"/>
                  <a:pt x="1723527" y="402533"/>
                  <a:pt x="1723527" y="420298"/>
                </a:cubicBezTo>
                <a:lnTo>
                  <a:pt x="1723527" y="461482"/>
                </a:lnTo>
                <a:lnTo>
                  <a:pt x="1706202" y="461482"/>
                </a:lnTo>
                <a:lnTo>
                  <a:pt x="1706202" y="422841"/>
                </a:lnTo>
                <a:cubicBezTo>
                  <a:pt x="1706202" y="413599"/>
                  <a:pt x="1700935" y="407797"/>
                  <a:pt x="1692407" y="407797"/>
                </a:cubicBezTo>
                <a:cubicBezTo>
                  <a:pt x="1683880" y="407797"/>
                  <a:pt x="1678494" y="413629"/>
                  <a:pt x="1678494" y="422841"/>
                </a:cubicBezTo>
                <a:lnTo>
                  <a:pt x="1678494" y="461482"/>
                </a:lnTo>
                <a:lnTo>
                  <a:pt x="1661168" y="461482"/>
                </a:lnTo>
                <a:close/>
                <a:moveTo>
                  <a:pt x="750213" y="363772"/>
                </a:moveTo>
                <a:lnTo>
                  <a:pt x="767538" y="363772"/>
                </a:lnTo>
                <a:lnTo>
                  <a:pt x="767538" y="403101"/>
                </a:lnTo>
                <a:cubicBezTo>
                  <a:pt x="771098" y="395863"/>
                  <a:pt x="777921" y="391587"/>
                  <a:pt x="786867" y="391587"/>
                </a:cubicBezTo>
                <a:cubicBezTo>
                  <a:pt x="802487" y="391616"/>
                  <a:pt x="812571" y="402533"/>
                  <a:pt x="812571" y="420298"/>
                </a:cubicBezTo>
                <a:lnTo>
                  <a:pt x="812571" y="461482"/>
                </a:lnTo>
                <a:lnTo>
                  <a:pt x="795246" y="461482"/>
                </a:lnTo>
                <a:lnTo>
                  <a:pt x="795246" y="422841"/>
                </a:lnTo>
                <a:cubicBezTo>
                  <a:pt x="795246" y="413599"/>
                  <a:pt x="789979" y="407797"/>
                  <a:pt x="781451" y="407797"/>
                </a:cubicBezTo>
                <a:cubicBezTo>
                  <a:pt x="772924" y="407797"/>
                  <a:pt x="767538" y="413629"/>
                  <a:pt x="767538" y="422841"/>
                </a:cubicBezTo>
                <a:lnTo>
                  <a:pt x="767538" y="461482"/>
                </a:lnTo>
                <a:lnTo>
                  <a:pt x="750213" y="461482"/>
                </a:lnTo>
                <a:close/>
                <a:moveTo>
                  <a:pt x="1760720" y="269382"/>
                </a:moveTo>
                <a:lnTo>
                  <a:pt x="1764580" y="269382"/>
                </a:lnTo>
                <a:lnTo>
                  <a:pt x="1773138" y="282960"/>
                </a:lnTo>
                <a:lnTo>
                  <a:pt x="1781666" y="269382"/>
                </a:lnTo>
                <a:lnTo>
                  <a:pt x="1785077" y="269382"/>
                </a:lnTo>
                <a:lnTo>
                  <a:pt x="1785077" y="293099"/>
                </a:lnTo>
                <a:lnTo>
                  <a:pt x="1781756" y="293099"/>
                </a:lnTo>
                <a:lnTo>
                  <a:pt x="1781756" y="274705"/>
                </a:lnTo>
                <a:lnTo>
                  <a:pt x="1772929" y="288433"/>
                </a:lnTo>
                <a:lnTo>
                  <a:pt x="1764042" y="274705"/>
                </a:lnTo>
                <a:lnTo>
                  <a:pt x="1764042" y="293099"/>
                </a:lnTo>
                <a:lnTo>
                  <a:pt x="1760720" y="293099"/>
                </a:lnTo>
                <a:close/>
                <a:moveTo>
                  <a:pt x="1748452" y="268963"/>
                </a:moveTo>
                <a:cubicBezTo>
                  <a:pt x="1752163" y="268963"/>
                  <a:pt x="1755155" y="270578"/>
                  <a:pt x="1756591" y="272642"/>
                </a:cubicBezTo>
                <a:lnTo>
                  <a:pt x="1754287" y="274885"/>
                </a:lnTo>
                <a:cubicBezTo>
                  <a:pt x="1753210" y="273359"/>
                  <a:pt x="1750966" y="272073"/>
                  <a:pt x="1748392" y="272073"/>
                </a:cubicBezTo>
                <a:cubicBezTo>
                  <a:pt x="1745550" y="272073"/>
                  <a:pt x="1743754" y="273330"/>
                  <a:pt x="1743754" y="275274"/>
                </a:cubicBezTo>
                <a:cubicBezTo>
                  <a:pt x="1743754" y="280508"/>
                  <a:pt x="1757010" y="278115"/>
                  <a:pt x="1757010" y="286549"/>
                </a:cubicBezTo>
                <a:cubicBezTo>
                  <a:pt x="1757010" y="290736"/>
                  <a:pt x="1753599" y="293547"/>
                  <a:pt x="1748303" y="293547"/>
                </a:cubicBezTo>
                <a:cubicBezTo>
                  <a:pt x="1743844" y="293547"/>
                  <a:pt x="1740972" y="291813"/>
                  <a:pt x="1739326" y="289510"/>
                </a:cubicBezTo>
                <a:lnTo>
                  <a:pt x="1741720" y="287267"/>
                </a:lnTo>
                <a:cubicBezTo>
                  <a:pt x="1743306" y="289330"/>
                  <a:pt x="1745610" y="290407"/>
                  <a:pt x="1748303" y="290407"/>
                </a:cubicBezTo>
                <a:cubicBezTo>
                  <a:pt x="1751564" y="290407"/>
                  <a:pt x="1753419" y="289001"/>
                  <a:pt x="1753419" y="286788"/>
                </a:cubicBezTo>
                <a:cubicBezTo>
                  <a:pt x="1753419" y="281016"/>
                  <a:pt x="1740164" y="283558"/>
                  <a:pt x="1740164" y="275393"/>
                </a:cubicBezTo>
                <a:cubicBezTo>
                  <a:pt x="1740164" y="271565"/>
                  <a:pt x="1743545" y="268963"/>
                  <a:pt x="1748452" y="268963"/>
                </a:cubicBezTo>
                <a:close/>
                <a:moveTo>
                  <a:pt x="1411587" y="134646"/>
                </a:moveTo>
                <a:cubicBezTo>
                  <a:pt x="1380557" y="134646"/>
                  <a:pt x="1357906" y="160217"/>
                  <a:pt x="1357906" y="192488"/>
                </a:cubicBezTo>
                <a:cubicBezTo>
                  <a:pt x="1357906" y="224759"/>
                  <a:pt x="1380557" y="250749"/>
                  <a:pt x="1411587" y="250749"/>
                </a:cubicBezTo>
                <a:cubicBezTo>
                  <a:pt x="1442197" y="250749"/>
                  <a:pt x="1464429" y="224759"/>
                  <a:pt x="1464429" y="192488"/>
                </a:cubicBezTo>
                <a:cubicBezTo>
                  <a:pt x="1464429" y="160217"/>
                  <a:pt x="1442197" y="134646"/>
                  <a:pt x="1411587" y="134646"/>
                </a:cubicBezTo>
                <a:close/>
                <a:moveTo>
                  <a:pt x="742014" y="134646"/>
                </a:moveTo>
                <a:cubicBezTo>
                  <a:pt x="710985" y="134646"/>
                  <a:pt x="688334" y="160217"/>
                  <a:pt x="688334" y="192488"/>
                </a:cubicBezTo>
                <a:cubicBezTo>
                  <a:pt x="688334" y="224759"/>
                  <a:pt x="710985" y="250749"/>
                  <a:pt x="742014" y="250749"/>
                </a:cubicBezTo>
                <a:cubicBezTo>
                  <a:pt x="772625" y="250749"/>
                  <a:pt x="794857" y="224759"/>
                  <a:pt x="794857" y="192488"/>
                </a:cubicBezTo>
                <a:cubicBezTo>
                  <a:pt x="794857" y="160217"/>
                  <a:pt x="772625" y="134646"/>
                  <a:pt x="742014" y="134646"/>
                </a:cubicBezTo>
                <a:close/>
                <a:moveTo>
                  <a:pt x="1110987" y="130070"/>
                </a:moveTo>
                <a:cubicBezTo>
                  <a:pt x="1085373" y="130040"/>
                  <a:pt x="1067779" y="147656"/>
                  <a:pt x="1061914" y="173227"/>
                </a:cubicBezTo>
                <a:lnTo>
                  <a:pt x="1158773" y="173227"/>
                </a:lnTo>
                <a:cubicBezTo>
                  <a:pt x="1152908" y="144725"/>
                  <a:pt x="1134865" y="130070"/>
                  <a:pt x="1110987" y="130070"/>
                </a:cubicBezTo>
                <a:close/>
                <a:moveTo>
                  <a:pt x="733636" y="86494"/>
                </a:moveTo>
                <a:cubicBezTo>
                  <a:pt x="760057" y="86494"/>
                  <a:pt x="780584" y="96124"/>
                  <a:pt x="794857" y="112484"/>
                </a:cubicBezTo>
                <a:lnTo>
                  <a:pt x="794857" y="92356"/>
                </a:lnTo>
                <a:lnTo>
                  <a:pt x="846443" y="92356"/>
                </a:lnTo>
                <a:lnTo>
                  <a:pt x="846443" y="293099"/>
                </a:lnTo>
                <a:lnTo>
                  <a:pt x="794857" y="293099"/>
                </a:lnTo>
                <a:lnTo>
                  <a:pt x="794857" y="271296"/>
                </a:lnTo>
                <a:cubicBezTo>
                  <a:pt x="780195" y="288493"/>
                  <a:pt x="759639" y="298961"/>
                  <a:pt x="733636" y="298961"/>
                </a:cubicBezTo>
                <a:cubicBezTo>
                  <a:pt x="680374" y="298961"/>
                  <a:pt x="637196" y="255385"/>
                  <a:pt x="637196" y="192937"/>
                </a:cubicBezTo>
                <a:cubicBezTo>
                  <a:pt x="637196" y="132164"/>
                  <a:pt x="677861" y="86494"/>
                  <a:pt x="733636" y="86494"/>
                </a:cubicBezTo>
                <a:close/>
                <a:moveTo>
                  <a:pt x="555628" y="86494"/>
                </a:moveTo>
                <a:cubicBezTo>
                  <a:pt x="590009" y="86494"/>
                  <a:pt x="617268" y="98218"/>
                  <a:pt x="634862" y="116671"/>
                </a:cubicBezTo>
                <a:lnTo>
                  <a:pt x="605509" y="153129"/>
                </a:lnTo>
                <a:cubicBezTo>
                  <a:pt x="592941" y="140957"/>
                  <a:pt x="577860" y="134676"/>
                  <a:pt x="558141" y="134676"/>
                </a:cubicBezTo>
                <a:cubicBezTo>
                  <a:pt x="524599" y="134676"/>
                  <a:pt x="501947" y="160247"/>
                  <a:pt x="501947" y="192518"/>
                </a:cubicBezTo>
                <a:cubicBezTo>
                  <a:pt x="501947" y="224789"/>
                  <a:pt x="525017" y="250779"/>
                  <a:pt x="557723" y="250779"/>
                </a:cubicBezTo>
                <a:cubicBezTo>
                  <a:pt x="578279" y="250779"/>
                  <a:pt x="594617" y="243661"/>
                  <a:pt x="607184" y="231070"/>
                </a:cubicBezTo>
                <a:lnTo>
                  <a:pt x="633187" y="268784"/>
                </a:lnTo>
                <a:cubicBezTo>
                  <a:pt x="617238" y="286370"/>
                  <a:pt x="588333" y="298961"/>
                  <a:pt x="556466" y="298961"/>
                </a:cubicBezTo>
                <a:cubicBezTo>
                  <a:pt x="496920" y="298961"/>
                  <a:pt x="450810" y="251198"/>
                  <a:pt x="450810" y="192937"/>
                </a:cubicBezTo>
                <a:cubicBezTo>
                  <a:pt x="450810" y="134257"/>
                  <a:pt x="496920" y="86494"/>
                  <a:pt x="555628" y="86494"/>
                </a:cubicBezTo>
                <a:close/>
                <a:moveTo>
                  <a:pt x="1647225" y="86464"/>
                </a:moveTo>
                <a:cubicBezTo>
                  <a:pt x="1693754" y="86464"/>
                  <a:pt x="1723527" y="119154"/>
                  <a:pt x="1723527" y="171553"/>
                </a:cubicBezTo>
                <a:lnTo>
                  <a:pt x="1723527" y="293099"/>
                </a:lnTo>
                <a:lnTo>
                  <a:pt x="1672360" y="293099"/>
                </a:lnTo>
                <a:lnTo>
                  <a:pt x="1672360" y="179089"/>
                </a:lnTo>
                <a:cubicBezTo>
                  <a:pt x="1672360" y="151843"/>
                  <a:pt x="1656411" y="134676"/>
                  <a:pt x="1631695" y="134676"/>
                </a:cubicBezTo>
                <a:cubicBezTo>
                  <a:pt x="1606112" y="134676"/>
                  <a:pt x="1590612" y="151843"/>
                  <a:pt x="1590612" y="179089"/>
                </a:cubicBezTo>
                <a:lnTo>
                  <a:pt x="1590612" y="293069"/>
                </a:lnTo>
                <a:lnTo>
                  <a:pt x="1539445" y="293069"/>
                </a:lnTo>
                <a:lnTo>
                  <a:pt x="1539445" y="92326"/>
                </a:lnTo>
                <a:lnTo>
                  <a:pt x="1590612" y="92326"/>
                </a:lnTo>
                <a:lnTo>
                  <a:pt x="1590612" y="112035"/>
                </a:lnTo>
                <a:cubicBezTo>
                  <a:pt x="1603179" y="95676"/>
                  <a:pt x="1622479" y="86464"/>
                  <a:pt x="1647225" y="86464"/>
                </a:cubicBezTo>
                <a:close/>
                <a:moveTo>
                  <a:pt x="1411168" y="86464"/>
                </a:moveTo>
                <a:cubicBezTo>
                  <a:pt x="1469456" y="86464"/>
                  <a:pt x="1515986" y="134227"/>
                  <a:pt x="1515986" y="192907"/>
                </a:cubicBezTo>
                <a:cubicBezTo>
                  <a:pt x="1515986" y="251168"/>
                  <a:pt x="1469456" y="298931"/>
                  <a:pt x="1411168" y="298931"/>
                </a:cubicBezTo>
                <a:cubicBezTo>
                  <a:pt x="1352879" y="298961"/>
                  <a:pt x="1306769" y="251168"/>
                  <a:pt x="1306769" y="192907"/>
                </a:cubicBezTo>
                <a:cubicBezTo>
                  <a:pt x="1306769" y="134227"/>
                  <a:pt x="1352879" y="86464"/>
                  <a:pt x="1411168" y="86464"/>
                </a:cubicBezTo>
                <a:close/>
                <a:moveTo>
                  <a:pt x="1110119" y="86464"/>
                </a:moveTo>
                <a:cubicBezTo>
                  <a:pt x="1167570" y="86464"/>
                  <a:pt x="1211167" y="130878"/>
                  <a:pt x="1211167" y="188720"/>
                </a:cubicBezTo>
                <a:cubicBezTo>
                  <a:pt x="1211167" y="195001"/>
                  <a:pt x="1210748" y="202119"/>
                  <a:pt x="1209910" y="205468"/>
                </a:cubicBezTo>
                <a:lnTo>
                  <a:pt x="1061046" y="205468"/>
                </a:lnTo>
                <a:cubicBezTo>
                  <a:pt x="1066073" y="233552"/>
                  <a:pt x="1087468" y="253680"/>
                  <a:pt x="1118497" y="253680"/>
                </a:cubicBezTo>
                <a:cubicBezTo>
                  <a:pt x="1138635" y="253680"/>
                  <a:pt x="1155810" y="244887"/>
                  <a:pt x="1167570" y="232715"/>
                </a:cubicBezTo>
                <a:lnTo>
                  <a:pt x="1193991" y="267498"/>
                </a:lnTo>
                <a:cubicBezTo>
                  <a:pt x="1178910" y="285084"/>
                  <a:pt x="1150394" y="298931"/>
                  <a:pt x="1116433" y="298931"/>
                </a:cubicBezTo>
                <a:cubicBezTo>
                  <a:pt x="1053925" y="298961"/>
                  <a:pt x="1008652" y="251168"/>
                  <a:pt x="1008652" y="192907"/>
                </a:cubicBezTo>
                <a:cubicBezTo>
                  <a:pt x="1008652" y="134227"/>
                  <a:pt x="1052249" y="86464"/>
                  <a:pt x="1110119" y="86464"/>
                </a:cubicBezTo>
                <a:close/>
                <a:moveTo>
                  <a:pt x="983518" y="86464"/>
                </a:moveTo>
                <a:cubicBezTo>
                  <a:pt x="996923" y="86464"/>
                  <a:pt x="1007844" y="90232"/>
                  <a:pt x="1015804" y="96513"/>
                </a:cubicBezTo>
                <a:lnTo>
                  <a:pt x="994409" y="145144"/>
                </a:lnTo>
                <a:cubicBezTo>
                  <a:pt x="987707" y="139700"/>
                  <a:pt x="977623" y="136351"/>
                  <a:pt x="967988" y="136351"/>
                </a:cubicBezTo>
                <a:cubicBezTo>
                  <a:pt x="947431" y="136351"/>
                  <a:pt x="934445" y="153548"/>
                  <a:pt x="934445" y="180764"/>
                </a:cubicBezTo>
                <a:lnTo>
                  <a:pt x="934445" y="293069"/>
                </a:lnTo>
                <a:lnTo>
                  <a:pt x="883278" y="293069"/>
                </a:lnTo>
                <a:lnTo>
                  <a:pt x="883278" y="92326"/>
                </a:lnTo>
                <a:lnTo>
                  <a:pt x="934445" y="92326"/>
                </a:lnTo>
                <a:lnTo>
                  <a:pt x="934445" y="114129"/>
                </a:lnTo>
                <a:cubicBezTo>
                  <a:pt x="945756" y="97351"/>
                  <a:pt x="962542" y="86464"/>
                  <a:pt x="983518" y="86464"/>
                </a:cubicBezTo>
                <a:close/>
                <a:moveTo>
                  <a:pt x="289840" y="38556"/>
                </a:moveTo>
                <a:cubicBezTo>
                  <a:pt x="268622" y="39645"/>
                  <a:pt x="249103" y="53154"/>
                  <a:pt x="241383" y="74352"/>
                </a:cubicBezTo>
                <a:cubicBezTo>
                  <a:pt x="235129" y="91489"/>
                  <a:pt x="238062" y="109763"/>
                  <a:pt x="247637" y="123760"/>
                </a:cubicBezTo>
                <a:lnTo>
                  <a:pt x="192849" y="146131"/>
                </a:lnTo>
                <a:lnTo>
                  <a:pt x="138151" y="123610"/>
                </a:lnTo>
                <a:cubicBezTo>
                  <a:pt x="140635" y="119962"/>
                  <a:pt x="142699" y="115924"/>
                  <a:pt x="144285" y="111587"/>
                </a:cubicBezTo>
                <a:lnTo>
                  <a:pt x="147574" y="93063"/>
                </a:lnTo>
                <a:lnTo>
                  <a:pt x="137965" y="62101"/>
                </a:lnTo>
                <a:cubicBezTo>
                  <a:pt x="131763" y="53072"/>
                  <a:pt x="122787" y="45819"/>
                  <a:pt x="111700" y="41782"/>
                </a:cubicBezTo>
                <a:cubicBezTo>
                  <a:pt x="104624" y="39210"/>
                  <a:pt x="97362" y="38193"/>
                  <a:pt x="90289" y="38556"/>
                </a:cubicBezTo>
                <a:cubicBezTo>
                  <a:pt x="69070" y="39645"/>
                  <a:pt x="49552" y="53154"/>
                  <a:pt x="41831" y="74352"/>
                </a:cubicBezTo>
                <a:cubicBezTo>
                  <a:pt x="31538" y="102645"/>
                  <a:pt x="46140" y="133899"/>
                  <a:pt x="74417" y="144187"/>
                </a:cubicBezTo>
                <a:cubicBezTo>
                  <a:pt x="91562" y="150438"/>
                  <a:pt x="109845" y="147507"/>
                  <a:pt x="123849" y="137936"/>
                </a:cubicBezTo>
                <a:lnTo>
                  <a:pt x="146231" y="192668"/>
                </a:lnTo>
                <a:lnTo>
                  <a:pt x="123699" y="247340"/>
                </a:lnTo>
                <a:cubicBezTo>
                  <a:pt x="120048" y="244858"/>
                  <a:pt x="116009" y="242794"/>
                  <a:pt x="111670" y="241209"/>
                </a:cubicBezTo>
                <a:cubicBezTo>
                  <a:pt x="105536" y="238996"/>
                  <a:pt x="99282" y="237919"/>
                  <a:pt x="93118" y="237919"/>
                </a:cubicBezTo>
                <a:lnTo>
                  <a:pt x="93128" y="237895"/>
                </a:lnTo>
                <a:lnTo>
                  <a:pt x="62160" y="247497"/>
                </a:lnTo>
                <a:cubicBezTo>
                  <a:pt x="53127" y="253696"/>
                  <a:pt x="45871" y="262668"/>
                  <a:pt x="41831" y="273749"/>
                </a:cubicBezTo>
                <a:cubicBezTo>
                  <a:pt x="31538" y="302042"/>
                  <a:pt x="46140" y="333296"/>
                  <a:pt x="74417" y="343584"/>
                </a:cubicBezTo>
                <a:cubicBezTo>
                  <a:pt x="102723" y="353872"/>
                  <a:pt x="133992" y="339277"/>
                  <a:pt x="144286" y="311014"/>
                </a:cubicBezTo>
                <a:cubicBezTo>
                  <a:pt x="150539" y="293877"/>
                  <a:pt x="147607" y="275603"/>
                  <a:pt x="138032" y="261606"/>
                </a:cubicBezTo>
                <a:lnTo>
                  <a:pt x="192820" y="239235"/>
                </a:lnTo>
                <a:lnTo>
                  <a:pt x="247458" y="261785"/>
                </a:lnTo>
                <a:cubicBezTo>
                  <a:pt x="244974" y="265434"/>
                  <a:pt x="242910" y="269472"/>
                  <a:pt x="241324" y="273808"/>
                </a:cubicBezTo>
                <a:lnTo>
                  <a:pt x="238035" y="292332"/>
                </a:lnTo>
                <a:lnTo>
                  <a:pt x="247644" y="323295"/>
                </a:lnTo>
                <a:cubicBezTo>
                  <a:pt x="253846" y="332324"/>
                  <a:pt x="262823" y="339577"/>
                  <a:pt x="273909" y="343614"/>
                </a:cubicBezTo>
                <a:cubicBezTo>
                  <a:pt x="302215" y="353902"/>
                  <a:pt x="333484" y="339307"/>
                  <a:pt x="343778" y="311044"/>
                </a:cubicBezTo>
                <a:cubicBezTo>
                  <a:pt x="354071" y="282751"/>
                  <a:pt x="339469" y="251497"/>
                  <a:pt x="311192" y="241208"/>
                </a:cubicBezTo>
                <a:cubicBezTo>
                  <a:pt x="294047" y="234958"/>
                  <a:pt x="275764" y="237889"/>
                  <a:pt x="261760" y="247459"/>
                </a:cubicBezTo>
                <a:lnTo>
                  <a:pt x="239379" y="192697"/>
                </a:lnTo>
                <a:lnTo>
                  <a:pt x="261940" y="138115"/>
                </a:lnTo>
                <a:cubicBezTo>
                  <a:pt x="265591" y="140597"/>
                  <a:pt x="269630" y="142661"/>
                  <a:pt x="273969" y="144246"/>
                </a:cubicBezTo>
                <a:lnTo>
                  <a:pt x="292497" y="147532"/>
                </a:lnTo>
                <a:lnTo>
                  <a:pt x="292520" y="147477"/>
                </a:lnTo>
                <a:cubicBezTo>
                  <a:pt x="314813" y="147507"/>
                  <a:pt x="335758" y="133779"/>
                  <a:pt x="343837" y="111617"/>
                </a:cubicBezTo>
                <a:cubicBezTo>
                  <a:pt x="354130" y="83324"/>
                  <a:pt x="339528" y="52070"/>
                  <a:pt x="311252" y="41782"/>
                </a:cubicBezTo>
                <a:cubicBezTo>
                  <a:pt x="304175" y="39210"/>
                  <a:pt x="296913" y="38193"/>
                  <a:pt x="289840" y="38556"/>
                </a:cubicBezTo>
                <a:close/>
                <a:moveTo>
                  <a:pt x="1232142" y="4755"/>
                </a:moveTo>
                <a:lnTo>
                  <a:pt x="1283310" y="4755"/>
                </a:lnTo>
                <a:lnTo>
                  <a:pt x="1283310" y="293099"/>
                </a:lnTo>
                <a:lnTo>
                  <a:pt x="1232142" y="293099"/>
                </a:lnTo>
                <a:lnTo>
                  <a:pt x="1232142" y="156868"/>
                </a:lnTo>
                <a:close/>
                <a:moveTo>
                  <a:pt x="93029" y="0"/>
                </a:moveTo>
                <a:cubicBezTo>
                  <a:pt x="144435" y="0"/>
                  <a:pt x="186087" y="41632"/>
                  <a:pt x="186087" y="92984"/>
                </a:cubicBezTo>
                <a:lnTo>
                  <a:pt x="184801" y="108375"/>
                </a:lnTo>
                <a:lnTo>
                  <a:pt x="192819" y="111677"/>
                </a:lnTo>
                <a:lnTo>
                  <a:pt x="200808" y="108387"/>
                </a:lnTo>
                <a:cubicBezTo>
                  <a:pt x="200000" y="103751"/>
                  <a:pt x="199552" y="97859"/>
                  <a:pt x="199552" y="92984"/>
                </a:cubicBezTo>
                <a:cubicBezTo>
                  <a:pt x="199552" y="41632"/>
                  <a:pt x="241204" y="0"/>
                  <a:pt x="292580" y="0"/>
                </a:cubicBezTo>
                <a:cubicBezTo>
                  <a:pt x="343957" y="0"/>
                  <a:pt x="385609" y="41632"/>
                  <a:pt x="385609" y="92984"/>
                </a:cubicBezTo>
                <a:cubicBezTo>
                  <a:pt x="385609" y="144337"/>
                  <a:pt x="343957" y="185969"/>
                  <a:pt x="292580" y="185969"/>
                </a:cubicBezTo>
                <a:lnTo>
                  <a:pt x="277196" y="184685"/>
                </a:lnTo>
                <a:lnTo>
                  <a:pt x="273879" y="192727"/>
                </a:lnTo>
                <a:lnTo>
                  <a:pt x="277170" y="200713"/>
                </a:lnTo>
                <a:cubicBezTo>
                  <a:pt x="281868" y="199875"/>
                  <a:pt x="287703" y="199427"/>
                  <a:pt x="292580" y="199427"/>
                </a:cubicBezTo>
                <a:cubicBezTo>
                  <a:pt x="343957" y="199427"/>
                  <a:pt x="385579" y="241059"/>
                  <a:pt x="385579" y="292411"/>
                </a:cubicBezTo>
                <a:cubicBezTo>
                  <a:pt x="385579" y="343763"/>
                  <a:pt x="343927" y="385395"/>
                  <a:pt x="292551" y="385395"/>
                </a:cubicBezTo>
                <a:cubicBezTo>
                  <a:pt x="241174" y="385395"/>
                  <a:pt x="199522" y="343763"/>
                  <a:pt x="199522" y="292411"/>
                </a:cubicBezTo>
                <a:lnTo>
                  <a:pt x="200808" y="277021"/>
                </a:lnTo>
                <a:lnTo>
                  <a:pt x="192790" y="273719"/>
                </a:lnTo>
                <a:lnTo>
                  <a:pt x="184770" y="277009"/>
                </a:lnTo>
                <a:cubicBezTo>
                  <a:pt x="185638" y="281913"/>
                  <a:pt x="186057" y="287536"/>
                  <a:pt x="186057" y="292411"/>
                </a:cubicBezTo>
                <a:cubicBezTo>
                  <a:pt x="186057" y="343763"/>
                  <a:pt x="144405" y="385396"/>
                  <a:pt x="93029" y="385396"/>
                </a:cubicBezTo>
                <a:cubicBezTo>
                  <a:pt x="41652" y="385396"/>
                  <a:pt x="0" y="343763"/>
                  <a:pt x="0" y="292411"/>
                </a:cubicBezTo>
                <a:cubicBezTo>
                  <a:pt x="0" y="241059"/>
                  <a:pt x="41652" y="199427"/>
                  <a:pt x="93058" y="199367"/>
                </a:cubicBezTo>
                <a:lnTo>
                  <a:pt x="108458" y="200682"/>
                </a:lnTo>
                <a:lnTo>
                  <a:pt x="111760" y="192668"/>
                </a:lnTo>
                <a:lnTo>
                  <a:pt x="108439" y="184713"/>
                </a:lnTo>
                <a:cubicBezTo>
                  <a:pt x="103801" y="185520"/>
                  <a:pt x="97906" y="185939"/>
                  <a:pt x="93029" y="185939"/>
                </a:cubicBezTo>
                <a:cubicBezTo>
                  <a:pt x="41652" y="185939"/>
                  <a:pt x="0" y="144337"/>
                  <a:pt x="0" y="92984"/>
                </a:cubicBezTo>
                <a:cubicBezTo>
                  <a:pt x="0" y="41632"/>
                  <a:pt x="41652" y="0"/>
                  <a:pt x="93029" y="0"/>
                </a:cubicBezTo>
                <a:close/>
              </a:path>
            </a:pathLst>
          </a:custGeom>
          <a:solidFill>
            <a:schemeClr val="bg1"/>
          </a:solidFill>
        </p:spPr>
        <p:txBody>
          <a:bodyPr wrap="square">
            <a:noAutofit/>
          </a:bodyPr>
          <a:lstStyle>
            <a:lvl1pPr>
              <a:defRPr sz="100">
                <a:solidFill>
                  <a:schemeClr val="tx2">
                    <a:alpha val="0"/>
                  </a:schemeClr>
                </a:solidFill>
              </a:defRPr>
            </a:lvl1pPr>
            <a:lvl2pPr>
              <a:defRPr sz="100">
                <a:solidFill>
                  <a:schemeClr val="tx2">
                    <a:alpha val="0"/>
                  </a:schemeClr>
                </a:solidFill>
              </a:defRPr>
            </a:lvl2pPr>
            <a:lvl3pPr>
              <a:defRPr sz="100">
                <a:solidFill>
                  <a:schemeClr val="tx2">
                    <a:alpha val="0"/>
                  </a:schemeClr>
                </a:solidFill>
              </a:defRPr>
            </a:lvl3pPr>
            <a:lvl4pPr>
              <a:defRPr sz="100">
                <a:solidFill>
                  <a:schemeClr val="tx2">
                    <a:alpha val="0"/>
                  </a:schemeClr>
                </a:solidFill>
              </a:defRPr>
            </a:lvl4pPr>
            <a:lvl5pPr>
              <a:defRPr sz="100">
                <a:solidFill>
                  <a:schemeClr val="tx2">
                    <a:alpha val="0"/>
                  </a:schemeClr>
                </a:solidFill>
              </a:defRPr>
            </a:lvl5pPr>
          </a:lstStyle>
          <a:p>
            <a:pPr lvl="0"/>
            <a:endParaRPr lang="en-US" dirty="0"/>
          </a:p>
        </p:txBody>
      </p:sp>
    </p:spTree>
    <p:extLst>
      <p:ext uri="{BB962C8B-B14F-4D97-AF65-F5344CB8AC3E}">
        <p14:creationId xmlns:p14="http://schemas.microsoft.com/office/powerpoint/2010/main" val="2972307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23114C3-EDAA-984F-A7E5-1E563968A441}"/>
              </a:ext>
            </a:extLst>
          </p:cNvPr>
          <p:cNvSpPr>
            <a:spLocks noGrp="1"/>
          </p:cNvSpPr>
          <p:nvPr>
            <p:ph type="pic" sz="quarter" idx="10"/>
          </p:nvPr>
        </p:nvSpPr>
        <p:spPr>
          <a:xfrm>
            <a:off x="0" y="0"/>
            <a:ext cx="12192000" cy="3441700"/>
          </a:xfrm>
          <a:solidFill>
            <a:schemeClr val="bg1">
              <a:lumMod val="95000"/>
            </a:schemeClr>
          </a:solidFill>
        </p:spPr>
        <p:txBody>
          <a:bodyPr/>
          <a:lstStyle>
            <a:lvl1pPr marL="0" indent="0">
              <a:buNone/>
              <a:defRPr sz="1200"/>
            </a:lvl1pPr>
          </a:lstStyle>
          <a:p>
            <a:r>
              <a:rPr lang="en-US"/>
              <a:t>Click icon to add picture</a:t>
            </a:r>
            <a:endParaRPr lang="en-US" dirty="0"/>
          </a:p>
        </p:txBody>
      </p:sp>
      <p:graphicFrame>
        <p:nvGraphicFramePr>
          <p:cNvPr id="6" name="Object 5" hidden="1">
            <a:extLst>
              <a:ext uri="{FF2B5EF4-FFF2-40B4-BE49-F238E27FC236}">
                <a16:creationId xmlns:a16="http://schemas.microsoft.com/office/drawing/2014/main" id="{ECD06166-C3DA-C64B-AFD4-AAF287376D21}"/>
              </a:ext>
            </a:extLst>
          </p:cNvPr>
          <p:cNvGraphicFramePr>
            <a:graphicFrameLocks noChangeAspect="1"/>
          </p:cNvGraphicFramePr>
          <p:nvPr>
            <p:custDataLst>
              <p:tags r:id="rId1"/>
            </p:custDataLst>
            <p:extLst>
              <p:ext uri="{D42A27DB-BD31-4B8C-83A1-F6EECF244321}">
                <p14:modId xmlns:p14="http://schemas.microsoft.com/office/powerpoint/2010/main" val="3876609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CD06166-C3DA-C64B-AFD4-AAF287376D2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4B6E5172-0EAF-9541-B6B0-E49938BC848D}"/>
              </a:ext>
            </a:extLst>
          </p:cNvPr>
          <p:cNvSpPr>
            <a:spLocks noGrp="1"/>
          </p:cNvSpPr>
          <p:nvPr>
            <p:ph type="ctrTitle" hasCustomPrompt="1"/>
          </p:nvPr>
        </p:nvSpPr>
        <p:spPr>
          <a:xfrm>
            <a:off x="457198" y="3759716"/>
            <a:ext cx="9366251" cy="622714"/>
          </a:xfrm>
        </p:spPr>
        <p:txBody>
          <a:bodyPr vert="horz" anchor="t"/>
          <a:lstStyle>
            <a:lvl1pPr algn="l">
              <a:defRPr sz="5000">
                <a:solidFill>
                  <a:schemeClr val="tx1"/>
                </a:solidFill>
              </a:defRPr>
            </a:lvl1pPr>
          </a:lstStyle>
          <a:p>
            <a:r>
              <a:rPr lang="en-US" dirty="0"/>
              <a:t>Click to add presentation title</a:t>
            </a:r>
          </a:p>
        </p:txBody>
      </p:sp>
      <p:sp>
        <p:nvSpPr>
          <p:cNvPr id="11" name="Subtitle 2">
            <a:extLst>
              <a:ext uri="{FF2B5EF4-FFF2-40B4-BE49-F238E27FC236}">
                <a16:creationId xmlns:a16="http://schemas.microsoft.com/office/drawing/2014/main" id="{E3B28E96-F998-4145-AFD3-BC0901E28925}"/>
              </a:ext>
            </a:extLst>
          </p:cNvPr>
          <p:cNvSpPr>
            <a:spLocks noGrp="1"/>
          </p:cNvSpPr>
          <p:nvPr>
            <p:ph type="subTitle" idx="1" hasCustomPrompt="1"/>
          </p:nvPr>
        </p:nvSpPr>
        <p:spPr>
          <a:xfrm>
            <a:off x="457198" y="5143500"/>
            <a:ext cx="5638800" cy="228600"/>
          </a:xfrm>
        </p:spPr>
        <p:txBody>
          <a:bodyPr/>
          <a:lstStyle>
            <a:lvl1pPr marL="0" indent="0" algn="l">
              <a:buNone/>
              <a:defRPr sz="1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7" name="Text Placeholder 11">
            <a:extLst>
              <a:ext uri="{FF2B5EF4-FFF2-40B4-BE49-F238E27FC236}">
                <a16:creationId xmlns:a16="http://schemas.microsoft.com/office/drawing/2014/main" id="{5BCB3DBE-7952-BD46-A5A1-E42AA39DD513}"/>
              </a:ext>
            </a:extLst>
          </p:cNvPr>
          <p:cNvSpPr>
            <a:spLocks noGrp="1"/>
          </p:cNvSpPr>
          <p:nvPr>
            <p:ph type="body" sz="quarter" idx="11" hasCustomPrompt="1"/>
          </p:nvPr>
        </p:nvSpPr>
        <p:spPr>
          <a:xfrm>
            <a:off x="457198" y="5385850"/>
            <a:ext cx="5638800" cy="224536"/>
          </a:xfrm>
        </p:spPr>
        <p:txBody>
          <a:bodyPr vert="horz" lIns="0" tIns="0" rIns="0" bIns="0" rtlCol="0">
            <a:noAutofit/>
          </a:bodyPr>
          <a:lstStyle>
            <a:lvl1pPr>
              <a:defRPr lang="en-US" sz="1800" i="0" dirty="0">
                <a:latin typeface="+mn-lt"/>
              </a:defRPr>
            </a:lvl1pPr>
          </a:lstStyle>
          <a:p>
            <a:pPr lvl="0"/>
            <a:r>
              <a:rPr lang="en-US" dirty="0"/>
              <a:t>Click to add date</a:t>
            </a:r>
          </a:p>
        </p:txBody>
      </p:sp>
      <p:pic>
        <p:nvPicPr>
          <p:cNvPr id="2" name="Graphic 1">
            <a:extLst>
              <a:ext uri="{FF2B5EF4-FFF2-40B4-BE49-F238E27FC236}">
                <a16:creationId xmlns:a16="http://schemas.microsoft.com/office/drawing/2014/main" id="{1EBA191B-5B26-1325-A418-51812774C9F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96061" y="6156161"/>
            <a:ext cx="1786364" cy="463576"/>
          </a:xfrm>
          <a:prstGeom prst="rect">
            <a:avLst/>
          </a:prstGeom>
        </p:spPr>
      </p:pic>
    </p:spTree>
    <p:extLst>
      <p:ext uri="{BB962C8B-B14F-4D97-AF65-F5344CB8AC3E}">
        <p14:creationId xmlns:p14="http://schemas.microsoft.com/office/powerpoint/2010/main" val="6568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710D8F-0C63-AC41-AED8-7250F0DC1BE5}"/>
              </a:ext>
            </a:extLst>
          </p:cNvPr>
          <p:cNvGraphicFramePr>
            <a:graphicFrameLocks noChangeAspect="1"/>
          </p:cNvGraphicFramePr>
          <p:nvPr>
            <p:custDataLst>
              <p:tags r:id="rId1"/>
            </p:custDataLst>
            <p:extLst>
              <p:ext uri="{D42A27DB-BD31-4B8C-83A1-F6EECF244321}">
                <p14:modId xmlns:p14="http://schemas.microsoft.com/office/powerpoint/2010/main" val="10905094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F6710D8F-0C63-AC41-AED8-7250F0DC1BE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793E11-CA7F-4409-AF5F-4334AE726D78}"/>
              </a:ext>
            </a:extLst>
          </p:cNvPr>
          <p:cNvSpPr>
            <a:spLocks noGrp="1"/>
          </p:cNvSpPr>
          <p:nvPr>
            <p:ph type="title" hasCustomPrompt="1"/>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24FC1E18-3994-4821-BBED-2E435EACD903}"/>
              </a:ext>
            </a:extLst>
          </p:cNvPr>
          <p:cNvSpPr>
            <a:spLocks noGrp="1"/>
          </p:cNvSpPr>
          <p:nvPr>
            <p:ph idx="1" hasCustomPrompt="1"/>
          </p:nvPr>
        </p:nvSpPr>
        <p:spPr>
          <a:xfrm>
            <a:off x="457200" y="1694048"/>
            <a:ext cx="11292840" cy="4313052"/>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a:extLst>
              <a:ext uri="{FF2B5EF4-FFF2-40B4-BE49-F238E27FC236}">
                <a16:creationId xmlns:a16="http://schemas.microsoft.com/office/drawing/2014/main" id="{AFD28C7D-8653-A64D-9D01-E67E0D43199F}"/>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sp>
        <p:nvSpPr>
          <p:cNvPr id="9" name="Text Placeholder 3">
            <a:extLst>
              <a:ext uri="{FF2B5EF4-FFF2-40B4-BE49-F238E27FC236}">
                <a16:creationId xmlns:a16="http://schemas.microsoft.com/office/drawing/2014/main" id="{D7C05061-C65B-D940-4DD8-5F7D98664047}"/>
              </a:ext>
            </a:extLst>
          </p:cNvPr>
          <p:cNvSpPr>
            <a:spLocks noGrp="1"/>
          </p:cNvSpPr>
          <p:nvPr>
            <p:ph type="body" sz="half" idx="2" hasCustomPrompt="1"/>
          </p:nvPr>
        </p:nvSpPr>
        <p:spPr>
          <a:xfrm>
            <a:off x="6215063" y="6306217"/>
            <a:ext cx="4567238" cy="266362"/>
          </a:xfrm>
        </p:spPr>
        <p:txBody>
          <a:bodyPr anchor="b" anchorCtr="0"/>
          <a:lstStyle>
            <a:lvl1pPr marL="0" indent="0" algn="r">
              <a:buNone/>
              <a:defRPr sz="9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footnote/source</a:t>
            </a:r>
          </a:p>
        </p:txBody>
      </p:sp>
    </p:spTree>
    <p:extLst>
      <p:ext uri="{BB962C8B-B14F-4D97-AF65-F5344CB8AC3E}">
        <p14:creationId xmlns:p14="http://schemas.microsoft.com/office/powerpoint/2010/main" val="39967442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E45441-7E5B-8F4F-AEE9-C817B4D674E4}"/>
              </a:ext>
            </a:extLst>
          </p:cNvPr>
          <p:cNvGraphicFramePr>
            <a:graphicFrameLocks noChangeAspect="1"/>
          </p:cNvGraphicFramePr>
          <p:nvPr>
            <p:custDataLst>
              <p:tags r:id="rId45"/>
            </p:custDataLst>
            <p:extLst>
              <p:ext uri="{D42A27DB-BD31-4B8C-83A1-F6EECF244321}">
                <p14:modId xmlns:p14="http://schemas.microsoft.com/office/powerpoint/2010/main" val="36102931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7" name="Object 6" hidden="1">
                        <a:extLst>
                          <a:ext uri="{FF2B5EF4-FFF2-40B4-BE49-F238E27FC236}">
                            <a16:creationId xmlns:a16="http://schemas.microsoft.com/office/drawing/2014/main" id="{4FE45441-7E5B-8F4F-AEE9-C817B4D674E4}"/>
                          </a:ext>
                        </a:extLst>
                      </p:cNvPr>
                      <p:cNvPicPr/>
                      <p:nvPr/>
                    </p:nvPicPr>
                    <p:blipFill>
                      <a:blip r:embed="rId47"/>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88F042-2AFB-42B5-BB01-4498F4506EAD}"/>
              </a:ext>
            </a:extLst>
          </p:cNvPr>
          <p:cNvSpPr>
            <a:spLocks noGrp="1"/>
          </p:cNvSpPr>
          <p:nvPr>
            <p:ph type="title"/>
          </p:nvPr>
        </p:nvSpPr>
        <p:spPr>
          <a:xfrm>
            <a:off x="457200" y="384048"/>
            <a:ext cx="11274552" cy="8229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BA90925-69FD-4467-9C11-D2AEE94BABAD}"/>
              </a:ext>
            </a:extLst>
          </p:cNvPr>
          <p:cNvSpPr>
            <a:spLocks noGrp="1"/>
          </p:cNvSpPr>
          <p:nvPr>
            <p:ph type="body" idx="1"/>
          </p:nvPr>
        </p:nvSpPr>
        <p:spPr>
          <a:xfrm>
            <a:off x="457200" y="1694048"/>
            <a:ext cx="11274552" cy="431305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Box 25">
            <a:extLst>
              <a:ext uri="{FF2B5EF4-FFF2-40B4-BE49-F238E27FC236}">
                <a16:creationId xmlns:a16="http://schemas.microsoft.com/office/drawing/2014/main" id="{ED412B9A-E70E-6449-8DEF-3E56B12E4331}"/>
              </a:ext>
            </a:extLst>
          </p:cNvPr>
          <p:cNvSpPr txBox="1"/>
          <p:nvPr/>
        </p:nvSpPr>
        <p:spPr>
          <a:xfrm>
            <a:off x="11358961" y="6434080"/>
            <a:ext cx="379141" cy="138499"/>
          </a:xfrm>
          <a:prstGeom prst="rect">
            <a:avLst/>
          </a:prstGeom>
          <a:noFill/>
        </p:spPr>
        <p:txBody>
          <a:bodyPr wrap="square" lIns="0" tIns="0" rIns="0" bIns="0" rtlCol="0" anchor="b">
            <a:spAutoFit/>
          </a:bodyPr>
          <a:lstStyle/>
          <a:p>
            <a:pPr algn="r"/>
            <a:fld id="{2E41F6C8-4AC0-3E4A-83FC-D61DA5B25C9B}" type="slidenum">
              <a:rPr lang="en-US" sz="900" smtClean="0">
                <a:solidFill>
                  <a:schemeClr val="tx2"/>
                </a:solidFill>
              </a:rPr>
              <a:pPr algn="r"/>
              <a:t>‹#›</a:t>
            </a:fld>
            <a:endParaRPr lang="en-US" sz="900" dirty="0">
              <a:solidFill>
                <a:schemeClr val="tx2"/>
              </a:solidFill>
            </a:endParaRPr>
          </a:p>
        </p:txBody>
      </p:sp>
      <p:pic>
        <p:nvPicPr>
          <p:cNvPr id="5" name="Graphic 4">
            <a:extLst>
              <a:ext uri="{FF2B5EF4-FFF2-40B4-BE49-F238E27FC236}">
                <a16:creationId xmlns:a16="http://schemas.microsoft.com/office/drawing/2014/main" id="{57BC2DB0-7F5A-4142-B10E-47FE768EB3DC}"/>
              </a:ext>
            </a:extLst>
          </p:cNvPr>
          <p:cNvPicPr>
            <a:picLocks noChangeAspect="1"/>
          </p:cNvPicPr>
          <p:nvPr/>
        </p:nvPicPr>
        <p:blipFill>
          <a:blip r:embed="rId48" cstate="screen">
            <a:extLst>
              <a:ext uri="{28A0092B-C50C-407E-A947-70E740481C1C}">
                <a14:useLocalDpi xmlns:a14="http://schemas.microsoft.com/office/drawing/2010/main"/>
              </a:ext>
              <a:ext uri="{96DAC541-7B7A-43D3-8B79-37D633B846F1}">
                <asvg:svgBlip xmlns:asvg="http://schemas.microsoft.com/office/drawing/2016/SVG/main" r:embed="rId49"/>
              </a:ext>
            </a:extLst>
          </a:blip>
          <a:stretch>
            <a:fillRect/>
          </a:stretch>
        </p:blipFill>
        <p:spPr>
          <a:xfrm>
            <a:off x="457199" y="6181343"/>
            <a:ext cx="365760" cy="365760"/>
          </a:xfrm>
          <a:prstGeom prst="rect">
            <a:avLst/>
          </a:prstGeom>
        </p:spPr>
      </p:pic>
      <p:sp>
        <p:nvSpPr>
          <p:cNvPr id="4" name="TextBox 3">
            <a:extLst>
              <a:ext uri="{FF2B5EF4-FFF2-40B4-BE49-F238E27FC236}">
                <a16:creationId xmlns:a16="http://schemas.microsoft.com/office/drawing/2014/main" id="{7A279370-1DA0-5449-9F86-A580F6E9BE34}"/>
              </a:ext>
            </a:extLst>
          </p:cNvPr>
          <p:cNvSpPr txBox="1"/>
          <p:nvPr userDrawn="1"/>
        </p:nvSpPr>
        <p:spPr>
          <a:xfrm>
            <a:off x="-6350000" y="-6350000"/>
            <a:ext cx="65" cy="276999"/>
          </a:xfrm>
          <a:prstGeom prst="rect">
            <a:avLst/>
          </a:prstGeom>
          <a:noFill/>
        </p:spPr>
        <p:txBody>
          <a:bodyPr vert="horz" wrap="none" lIns="0" tIns="0" rIns="0" bIns="0" rtlCol="0">
            <a:spAutoFit/>
          </a:bodyPr>
          <a:lstStyle/>
          <a:p>
            <a:pPr algn="l"/>
            <a:endParaRPr lang="en-US" dirty="0">
              <a:solidFill>
                <a:schemeClr val="tx2"/>
              </a:solidFill>
              <a:latin typeface="Elevance Sans" pitchFamily="2" charset="0"/>
            </a:endParaRPr>
          </a:p>
        </p:txBody>
      </p:sp>
      <p:sp>
        <p:nvSpPr>
          <p:cNvPr id="6" name="TextBox 5">
            <a:extLst>
              <a:ext uri="{FF2B5EF4-FFF2-40B4-BE49-F238E27FC236}">
                <a16:creationId xmlns:a16="http://schemas.microsoft.com/office/drawing/2014/main" id="{56C5949F-DBD0-8FC2-3AF3-FAB2E3F0E0AC}"/>
              </a:ext>
            </a:extLst>
          </p:cNvPr>
          <p:cNvSpPr txBox="1"/>
          <p:nvPr userDrawn="1"/>
        </p:nvSpPr>
        <p:spPr>
          <a:xfrm>
            <a:off x="-6350000" y="-6350000"/>
            <a:ext cx="65" cy="276999"/>
          </a:xfrm>
          <a:prstGeom prst="rect">
            <a:avLst/>
          </a:prstGeom>
          <a:noFill/>
        </p:spPr>
        <p:txBody>
          <a:bodyPr vert="horz" wrap="none" lIns="0" tIns="0" rIns="0" bIns="0" rtlCol="0">
            <a:spAutoFit/>
          </a:bodyPr>
          <a:lstStyle/>
          <a:p>
            <a:pPr algn="l"/>
            <a:endParaRPr lang="en-US" dirty="0">
              <a:solidFill>
                <a:schemeClr val="tx2"/>
              </a:solidFill>
              <a:latin typeface="Elevance Sans" pitchFamily="2" charset="0"/>
            </a:endParaRPr>
          </a:p>
        </p:txBody>
      </p:sp>
    </p:spTree>
    <p:extLst>
      <p:ext uri="{BB962C8B-B14F-4D97-AF65-F5344CB8AC3E}">
        <p14:creationId xmlns:p14="http://schemas.microsoft.com/office/powerpoint/2010/main" val="64630813"/>
      </p:ext>
    </p:extLst>
  </p:cSld>
  <p:clrMap bg1="lt1" tx1="dk1" bg2="lt2" tx2="dk2" accent1="accent1" accent2="accent2" accent3="accent3" accent4="accent4" accent5="accent5" accent6="accent6" hlink="hlink" folHlink="folHlink"/>
  <p:sldLayoutIdLst>
    <p:sldLayoutId id="2147483697" r:id="rId1"/>
    <p:sldLayoutId id="2147483662" r:id="rId2"/>
    <p:sldLayoutId id="2147483663" r:id="rId3"/>
    <p:sldLayoutId id="2147483699" r:id="rId4"/>
    <p:sldLayoutId id="2147483700" r:id="rId5"/>
    <p:sldLayoutId id="2147483701"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94" r:id="rId15"/>
    <p:sldLayoutId id="2147483695" r:id="rId16"/>
    <p:sldLayoutId id="2147483696" r:id="rId17"/>
    <p:sldLayoutId id="2147483672" r:id="rId18"/>
    <p:sldLayoutId id="2147483673" r:id="rId19"/>
    <p:sldLayoutId id="2147483674" r:id="rId20"/>
    <p:sldLayoutId id="2147483675" r:id="rId21"/>
    <p:sldLayoutId id="2147483676" r:id="rId22"/>
    <p:sldLayoutId id="2147483677" r:id="rId23"/>
    <p:sldLayoutId id="2147483678" r:id="rId24"/>
    <p:sldLayoutId id="2147483703" r:id="rId25"/>
    <p:sldLayoutId id="2147483679" r:id="rId26"/>
    <p:sldLayoutId id="2147483680" r:id="rId27"/>
    <p:sldLayoutId id="2147483681" r:id="rId28"/>
    <p:sldLayoutId id="2147483682" r:id="rId29"/>
    <p:sldLayoutId id="2147483683" r:id="rId30"/>
    <p:sldLayoutId id="2147483684" r:id="rId31"/>
    <p:sldLayoutId id="2147483685" r:id="rId32"/>
    <p:sldLayoutId id="2147483686" r:id="rId33"/>
    <p:sldLayoutId id="2147483687" r:id="rId34"/>
    <p:sldLayoutId id="2147483688" r:id="rId35"/>
    <p:sldLayoutId id="2147483689" r:id="rId36"/>
    <p:sldLayoutId id="2147483704" r:id="rId37"/>
    <p:sldLayoutId id="2147483693" r:id="rId38"/>
    <p:sldLayoutId id="2147483692" r:id="rId39"/>
    <p:sldLayoutId id="2147483690" r:id="rId40"/>
    <p:sldLayoutId id="2147483705" r:id="rId41"/>
    <p:sldLayoutId id="2147483706" r:id="rId42"/>
    <p:sldLayoutId id="2147483707" r:id="rId43"/>
  </p:sldLayoutIdLst>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2000"/>
        </a:spcBef>
        <a:buFont typeface="Elevance Sans" pitchFamily="2" charset="0"/>
        <a:buNone/>
        <a:tabLst/>
        <a:defRPr sz="2000" b="0" i="0" kern="1200">
          <a:solidFill>
            <a:schemeClr val="tx2"/>
          </a:solidFill>
          <a:latin typeface="Elevance Sans Medium" pitchFamily="2" charset="0"/>
          <a:ea typeface="+mn-ea"/>
          <a:cs typeface="+mn-cs"/>
        </a:defRPr>
      </a:lvl1pPr>
      <a:lvl2pPr marL="17463" indent="0" algn="l" defTabSz="914400" rtl="0" eaLnBrk="1" latinLnBrk="0" hangingPunct="1">
        <a:lnSpc>
          <a:spcPct val="100000"/>
        </a:lnSpc>
        <a:spcBef>
          <a:spcPts val="2000"/>
        </a:spcBef>
        <a:buFont typeface="Elevance Sans" pitchFamily="2" charset="0"/>
        <a:buNone/>
        <a:tabLst/>
        <a:defRPr sz="2000" kern="1200">
          <a:solidFill>
            <a:schemeClr val="tx2"/>
          </a:solidFill>
          <a:latin typeface="+mn-lt"/>
          <a:ea typeface="+mn-ea"/>
          <a:cs typeface="+mn-cs"/>
        </a:defRPr>
      </a:lvl2pPr>
      <a:lvl3pPr marL="176213" indent="-166688"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3pPr>
      <a:lvl4pPr marL="463550" indent="-231775"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4pPr>
      <a:lvl5pPr marL="628650" indent="-165100" algn="l" defTabSz="914400" rtl="0" eaLnBrk="1" latinLnBrk="0" hangingPunct="1">
        <a:lnSpc>
          <a:spcPct val="100000"/>
        </a:lnSpc>
        <a:spcBef>
          <a:spcPts val="2000"/>
        </a:spcBef>
        <a:buFont typeface="Elevance Sans" pitchFamily="2" charset="0"/>
        <a:buChar char="•"/>
        <a:tabLst/>
        <a:defRPr sz="2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Elevance Sans"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11" orient="horz" pos="552">
          <p15:clr>
            <a:srgbClr val="F26B43"/>
          </p15:clr>
        </p15:guide>
        <p15:guide id="12" pos="7680">
          <p15:clr>
            <a:srgbClr val="F26B43"/>
          </p15:clr>
        </p15:guide>
        <p15:guide id="13" orient="horz" pos="1088">
          <p15:clr>
            <a:srgbClr val="F26B43"/>
          </p15:clr>
        </p15:guide>
        <p15:guide id="14" orient="horz" pos="1624">
          <p15:clr>
            <a:srgbClr val="F26B43"/>
          </p15:clr>
        </p15:guide>
        <p15:guide id="15" orient="horz" pos="2168">
          <p15:clr>
            <a:srgbClr val="F26B43"/>
          </p15:clr>
        </p15:guide>
        <p15:guide id="16" orient="horz" pos="2704">
          <p15:clr>
            <a:srgbClr val="F26B43"/>
          </p15:clr>
        </p15:guide>
        <p15:guide id="17" orient="horz" pos="3240">
          <p15:clr>
            <a:srgbClr val="F26B43"/>
          </p15:clr>
        </p15:guide>
        <p15:guide id="18" orient="horz" pos="3784">
          <p15:clr>
            <a:srgbClr val="F26B43"/>
          </p15:clr>
        </p15:guide>
        <p15:guide id="19" orient="horz" pos="4120">
          <p15:clr>
            <a:srgbClr val="F26B43"/>
          </p15:clr>
        </p15:guide>
        <p15:guide id="20" orient="horz" pos="272">
          <p15:clr>
            <a:srgbClr val="F26B43"/>
          </p15:clr>
        </p15:guide>
        <p15:guide id="21" pos="288">
          <p15:clr>
            <a:srgbClr val="F26B43"/>
          </p15:clr>
        </p15:guide>
        <p15:guide id="22" pos="7392">
          <p15:clr>
            <a:srgbClr val="F26B43"/>
          </p15:clr>
        </p15:guide>
        <p15:guide id="23">
          <p15:clr>
            <a:srgbClr val="F26B43"/>
          </p15:clr>
        </p15:guide>
        <p15:guide id="24" orient="horz" pos="4320">
          <p15:clr>
            <a:srgbClr val="F26B43"/>
          </p15:clr>
        </p15:guide>
        <p15:guide id="25" pos="894">
          <p15:clr>
            <a:srgbClr val="F26B43"/>
          </p15:clr>
        </p15:guide>
        <p15:guide id="26" pos="750">
          <p15:clr>
            <a:srgbClr val="F26B43"/>
          </p15:clr>
        </p15:guide>
        <p15:guide id="27" pos="1498">
          <p15:clr>
            <a:srgbClr val="F26B43"/>
          </p15:clr>
        </p15:guide>
        <p15:guide id="28" pos="1354">
          <p15:clr>
            <a:srgbClr val="F26B43"/>
          </p15:clr>
        </p15:guide>
        <p15:guide id="29" pos="2102">
          <p15:clr>
            <a:srgbClr val="F26B43"/>
          </p15:clr>
        </p15:guide>
        <p15:guide id="30" pos="1958">
          <p15:clr>
            <a:srgbClr val="F26B43"/>
          </p15:clr>
        </p15:guide>
        <p15:guide id="31" pos="2706">
          <p15:clr>
            <a:srgbClr val="F26B43"/>
          </p15:clr>
        </p15:guide>
        <p15:guide id="32" pos="2562">
          <p15:clr>
            <a:srgbClr val="F26B43"/>
          </p15:clr>
        </p15:guide>
        <p15:guide id="33" pos="3311">
          <p15:clr>
            <a:srgbClr val="F26B43"/>
          </p15:clr>
        </p15:guide>
        <p15:guide id="34" pos="3167">
          <p15:clr>
            <a:srgbClr val="F26B43"/>
          </p15:clr>
        </p15:guide>
        <p15:guide id="35" pos="3915">
          <p15:clr>
            <a:srgbClr val="F26B43"/>
          </p15:clr>
        </p15:guide>
        <p15:guide id="36" pos="3771">
          <p15:clr>
            <a:srgbClr val="F26B43"/>
          </p15:clr>
        </p15:guide>
        <p15:guide id="37" pos="4519">
          <p15:clr>
            <a:srgbClr val="F26B43"/>
          </p15:clr>
        </p15:guide>
        <p15:guide id="38" pos="4375">
          <p15:clr>
            <a:srgbClr val="F26B43"/>
          </p15:clr>
        </p15:guide>
        <p15:guide id="39" pos="5123">
          <p15:clr>
            <a:srgbClr val="F26B43"/>
          </p15:clr>
        </p15:guide>
        <p15:guide id="40" pos="4979">
          <p15:clr>
            <a:srgbClr val="F26B43"/>
          </p15:clr>
        </p15:guide>
        <p15:guide id="41" pos="5728">
          <p15:clr>
            <a:srgbClr val="F26B43"/>
          </p15:clr>
        </p15:guide>
        <p15:guide id="42" pos="5584">
          <p15:clr>
            <a:srgbClr val="F26B43"/>
          </p15:clr>
        </p15:guide>
        <p15:guide id="43" pos="6332">
          <p15:clr>
            <a:srgbClr val="F26B43"/>
          </p15:clr>
        </p15:guide>
        <p15:guide id="44" pos="6188">
          <p15:clr>
            <a:srgbClr val="F26B43"/>
          </p15:clr>
        </p15:guide>
        <p15:guide id="45" pos="6936">
          <p15:clr>
            <a:srgbClr val="F26B43"/>
          </p15:clr>
        </p15:guide>
        <p15:guide id="46" pos="679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0A0F69B-72CA-54A1-0AA6-BD3C0E24AB3C}"/>
              </a:ext>
            </a:extLst>
          </p:cNvPr>
          <p:cNvSpPr>
            <a:spLocks noGrp="1"/>
          </p:cNvSpPr>
          <p:nvPr>
            <p:ph type="ctrTitle"/>
          </p:nvPr>
        </p:nvSpPr>
        <p:spPr/>
        <p:txBody>
          <a:bodyPr/>
          <a:lstStyle/>
          <a:p>
            <a:pPr algn="ctr"/>
            <a:r>
              <a:rPr lang="en-US" sz="5400" dirty="0">
                <a:solidFill>
                  <a:srgbClr val="7030A0"/>
                </a:solidFill>
              </a:rPr>
              <a:t>Medical</a:t>
            </a:r>
            <a:r>
              <a:rPr lang="en-US" sz="5400" dirty="0"/>
              <a:t> Cannabis: </a:t>
            </a:r>
            <a:br>
              <a:rPr lang="en-US" sz="5400" dirty="0"/>
            </a:br>
            <a:r>
              <a:rPr lang="en-US" sz="5400" dirty="0"/>
              <a:t>Update</a:t>
            </a:r>
          </a:p>
        </p:txBody>
      </p:sp>
      <p:sp>
        <p:nvSpPr>
          <p:cNvPr id="3" name="Subtitle 2">
            <a:extLst>
              <a:ext uri="{FF2B5EF4-FFF2-40B4-BE49-F238E27FC236}">
                <a16:creationId xmlns:a16="http://schemas.microsoft.com/office/drawing/2014/main" id="{47DEF122-8964-2139-55E8-33C25B01BACF}"/>
              </a:ext>
            </a:extLst>
          </p:cNvPr>
          <p:cNvSpPr>
            <a:spLocks noGrp="1"/>
          </p:cNvSpPr>
          <p:nvPr>
            <p:ph type="subTitle" idx="1"/>
          </p:nvPr>
        </p:nvSpPr>
        <p:spPr/>
        <p:txBody>
          <a:bodyPr/>
          <a:lstStyle/>
          <a:p>
            <a:r>
              <a:rPr lang="en-US" sz="2800" dirty="0"/>
              <a:t>James Westphal, MD</a:t>
            </a:r>
          </a:p>
          <a:p>
            <a:r>
              <a:rPr lang="en-US" sz="2800" dirty="0"/>
              <a:t>May 2, 2023</a:t>
            </a:r>
            <a:br>
              <a:rPr lang="en-US" sz="2800" dirty="0"/>
            </a:br>
            <a:br>
              <a:rPr lang="en-US" sz="2800" dirty="0"/>
            </a:br>
            <a:endParaRPr lang="en-US" sz="2800" dirty="0"/>
          </a:p>
        </p:txBody>
      </p:sp>
    </p:spTree>
    <p:extLst>
      <p:ext uri="{BB962C8B-B14F-4D97-AF65-F5344CB8AC3E}">
        <p14:creationId xmlns:p14="http://schemas.microsoft.com/office/powerpoint/2010/main" val="31284601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0"/>
            <a:ext cx="10908791" cy="548640"/>
          </a:xfrm>
        </p:spPr>
        <p:txBody>
          <a:bodyPr/>
          <a:lstStyle/>
          <a:p>
            <a:pPr algn="ctr"/>
            <a:r>
              <a:rPr lang="en-US" dirty="0"/>
              <a:t>Cannabis Is Chemically Complex</a:t>
            </a:r>
          </a:p>
        </p:txBody>
      </p:sp>
      <p:sp>
        <p:nvSpPr>
          <p:cNvPr id="3" name="Content Placeholder 2"/>
          <p:cNvSpPr>
            <a:spLocks noGrp="1"/>
          </p:cNvSpPr>
          <p:nvPr>
            <p:ph idx="1"/>
          </p:nvPr>
        </p:nvSpPr>
        <p:spPr>
          <a:xfrm>
            <a:off x="74952" y="548640"/>
            <a:ext cx="11962150" cy="6309359"/>
          </a:xfrm>
        </p:spPr>
        <p:txBody>
          <a:bodyPr>
            <a:normAutofit/>
          </a:bodyPr>
          <a:lstStyle/>
          <a:p>
            <a:pPr marL="342900" indent="-342900">
              <a:buFont typeface="Arial" panose="020B0604020202020204" pitchFamily="34" charset="0"/>
              <a:buChar char="•"/>
            </a:pPr>
            <a:r>
              <a:rPr lang="en-US" sz="2400" dirty="0"/>
              <a:t>Unlike pharmaceutical medications, </a:t>
            </a:r>
            <a:r>
              <a:rPr lang="en-US" sz="2400" b="1" dirty="0"/>
              <a:t>marijuana is not a single-agent compound but a complex combination of more than 100 different chemicals</a:t>
            </a:r>
            <a:r>
              <a:rPr lang="en-US" sz="2400" dirty="0"/>
              <a:t>, which include cannabinoids, flavonoids, and terpinoids. </a:t>
            </a:r>
          </a:p>
          <a:p>
            <a:pPr marL="342900" indent="-342900">
              <a:buFont typeface="Arial" panose="020B0604020202020204" pitchFamily="34" charset="0"/>
              <a:buChar char="•"/>
            </a:pPr>
            <a:r>
              <a:rPr lang="en-US" sz="2400" dirty="0"/>
              <a:t>The </a:t>
            </a:r>
            <a:r>
              <a:rPr lang="en-US" sz="2400" b="1" dirty="0"/>
              <a:t>primary psychoactive component of marijuana is delta-9- tetrahydrocannabinol </a:t>
            </a:r>
            <a:r>
              <a:rPr lang="en-US" sz="2400" dirty="0"/>
              <a:t>(THC). </a:t>
            </a:r>
          </a:p>
          <a:p>
            <a:pPr marL="342900" indent="-342900">
              <a:buFont typeface="Arial" panose="020B0604020202020204" pitchFamily="34" charset="0"/>
              <a:buChar char="•"/>
            </a:pPr>
            <a:r>
              <a:rPr lang="en-US" sz="2400" dirty="0"/>
              <a:t>However, other cannabinoid compounds—including cannabidiol (CBD), cannabinol, cannabichromene, cannabidivarin, cannabigerol, and tetrahydrocannabivarin—have their own actions on the central nervous system and may modify the effects of THC (“entourage effects”). </a:t>
            </a:r>
          </a:p>
          <a:p>
            <a:pPr marL="342900" indent="-342900">
              <a:buFont typeface="Arial" panose="020B0604020202020204" pitchFamily="34" charset="0"/>
              <a:buChar char="•"/>
            </a:pPr>
            <a:r>
              <a:rPr lang="en-US" sz="2400" b="1" dirty="0"/>
              <a:t>The concentration of these compounds can vary substantially </a:t>
            </a:r>
            <a:r>
              <a:rPr lang="en-US" sz="2400" dirty="0"/>
              <a:t>(Potter, Clark, Brown, 2006), making it difficult to characterize the specific positive or negative health effects of marijuana, especially </a:t>
            </a:r>
            <a:r>
              <a:rPr lang="en-US" sz="2400" b="1" dirty="0"/>
              <a:t>in uncontrolled and epidemiological studies</a:t>
            </a:r>
            <a:r>
              <a:rPr lang="en-US" sz="2400" dirty="0"/>
              <a:t>. </a:t>
            </a:r>
          </a:p>
          <a:p>
            <a:pPr marL="0" indent="0" algn="ctr">
              <a:buNone/>
            </a:pPr>
            <a:r>
              <a:rPr lang="en-US" dirty="0"/>
              <a:t>Wilkinson, Yarnell, Radhakrishnan et al., 2016</a:t>
            </a:r>
          </a:p>
        </p:txBody>
      </p:sp>
      <p:sp>
        <p:nvSpPr>
          <p:cNvPr id="4" name="Slide Number Placeholder 3"/>
          <p:cNvSpPr>
            <a:spLocks noGrp="1"/>
          </p:cNvSpPr>
          <p:nvPr>
            <p:ph type="sldNum" sz="quarter" idx="12"/>
          </p:nvPr>
        </p:nvSpPr>
        <p:spPr/>
        <p:txBody>
          <a:bodyPr/>
          <a:lstStyle/>
          <a:p>
            <a:fld id="{4E46249D-581C-4C8F-83DD-B87371934A8D}" type="slidenum">
              <a:rPr lang="en-US" smtClean="0"/>
              <a:t>10</a:t>
            </a:fld>
            <a:endParaRPr lang="en-US" dirty="0"/>
          </a:p>
        </p:txBody>
      </p:sp>
    </p:spTree>
    <p:extLst>
      <p:ext uri="{BB962C8B-B14F-4D97-AF65-F5344CB8AC3E}">
        <p14:creationId xmlns:p14="http://schemas.microsoft.com/office/powerpoint/2010/main" val="3065732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0"/>
            <a:ext cx="10908791" cy="548640"/>
          </a:xfrm>
        </p:spPr>
        <p:txBody>
          <a:bodyPr/>
          <a:lstStyle/>
          <a:p>
            <a:pPr algn="ctr"/>
            <a:r>
              <a:rPr lang="en-US" dirty="0"/>
              <a:t>Cannabis THC Content Has Increased Over Since The 80’s</a:t>
            </a:r>
          </a:p>
        </p:txBody>
      </p:sp>
      <p:sp>
        <p:nvSpPr>
          <p:cNvPr id="3" name="Content Placeholder 2"/>
          <p:cNvSpPr>
            <a:spLocks noGrp="1"/>
          </p:cNvSpPr>
          <p:nvPr>
            <p:ph idx="1"/>
          </p:nvPr>
        </p:nvSpPr>
        <p:spPr>
          <a:xfrm>
            <a:off x="74952" y="548640"/>
            <a:ext cx="11962150" cy="6309359"/>
          </a:xfrm>
        </p:spPr>
        <p:txBody>
          <a:bodyPr>
            <a:normAutofit/>
          </a:bodyPr>
          <a:lstStyle/>
          <a:p>
            <a:pPr marL="342900" indent="-342900">
              <a:buFont typeface="Arial" panose="020B0604020202020204" pitchFamily="34" charset="0"/>
              <a:buChar char="•"/>
            </a:pPr>
            <a:r>
              <a:rPr lang="en-US" sz="2400" dirty="0"/>
              <a:t>T</a:t>
            </a:r>
            <a:r>
              <a:rPr lang="en-US" sz="2400" b="1" dirty="0"/>
              <a:t>he average content of THC in marijuana (as measured in confiscated marijuana samples in the United States) has increased substantially from ∼1% in the 1980s to ∼9% in 2008</a:t>
            </a:r>
            <a:r>
              <a:rPr lang="en-US" sz="2400" dirty="0"/>
              <a:t> (ElSohly, Ross, Mehmedic et al., 2000; Mehmedic, Chandra, Slade et al., 2010). </a:t>
            </a:r>
          </a:p>
          <a:p>
            <a:pPr marL="342900" indent="-342900">
              <a:buFont typeface="Arial" panose="020B0604020202020204" pitchFamily="34" charset="0"/>
              <a:buChar char="•"/>
            </a:pPr>
            <a:r>
              <a:rPr lang="en-US" sz="2400" dirty="0"/>
              <a:t>As THC is thought to be related to many of marijuana's adverse effects, this increase in potency means that </a:t>
            </a:r>
            <a:r>
              <a:rPr lang="en-US" sz="2400" b="1" dirty="0"/>
              <a:t>relying on older studies for data about marijuana's safety profile may be problematic. </a:t>
            </a:r>
          </a:p>
          <a:p>
            <a:pPr marL="342900" indent="-342900">
              <a:buFont typeface="Arial" panose="020B0604020202020204" pitchFamily="34" charset="0"/>
              <a:buChar char="•"/>
            </a:pPr>
            <a:r>
              <a:rPr lang="en-US" sz="2400" dirty="0"/>
              <a:t>Furthermore, given that individual cannabinoids present in whole-plant marijuana have different pharmacological effects, </a:t>
            </a:r>
            <a:r>
              <a:rPr lang="en-US" sz="2400" b="1" dirty="0"/>
              <a:t>data on individual cannabinoids cannot necessarily be extrapolated to whole-plant marijuana and vice versa</a:t>
            </a:r>
            <a:r>
              <a:rPr lang="en-US" sz="2400" dirty="0"/>
              <a:t>. </a:t>
            </a:r>
          </a:p>
          <a:p>
            <a:pPr marL="342900" indent="-342900">
              <a:buFont typeface="Arial" panose="020B0604020202020204" pitchFamily="34" charset="0"/>
              <a:buChar char="•"/>
            </a:pPr>
            <a:r>
              <a:rPr lang="en-US" sz="2400" dirty="0"/>
              <a:t>More research is urgently needed in light of the changing legal landscape and the increasing potency of marijuana.</a:t>
            </a:r>
          </a:p>
          <a:p>
            <a:pPr marL="0" indent="0" algn="ctr">
              <a:buNone/>
            </a:pPr>
            <a:r>
              <a:rPr lang="en-US" sz="2400" dirty="0"/>
              <a:t>Wilkinson, Yarnell, Radhakrishnan et al., 2016</a:t>
            </a:r>
          </a:p>
        </p:txBody>
      </p:sp>
      <p:sp>
        <p:nvSpPr>
          <p:cNvPr id="4" name="Slide Number Placeholder 3"/>
          <p:cNvSpPr>
            <a:spLocks noGrp="1"/>
          </p:cNvSpPr>
          <p:nvPr>
            <p:ph type="sldNum" sz="quarter" idx="12"/>
          </p:nvPr>
        </p:nvSpPr>
        <p:spPr/>
        <p:txBody>
          <a:bodyPr/>
          <a:lstStyle/>
          <a:p>
            <a:fld id="{4E46249D-581C-4C8F-83DD-B87371934A8D}" type="slidenum">
              <a:rPr lang="en-US" smtClean="0"/>
              <a:t>11</a:t>
            </a:fld>
            <a:endParaRPr lang="en-US" dirty="0"/>
          </a:p>
        </p:txBody>
      </p:sp>
    </p:spTree>
    <p:extLst>
      <p:ext uri="{BB962C8B-B14F-4D97-AF65-F5344CB8AC3E}">
        <p14:creationId xmlns:p14="http://schemas.microsoft.com/office/powerpoint/2010/main" val="3672121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4992" y="0"/>
            <a:ext cx="10908791" cy="548640"/>
          </a:xfrm>
        </p:spPr>
        <p:txBody>
          <a:bodyPr/>
          <a:lstStyle/>
          <a:p>
            <a:pPr algn="ctr"/>
            <a:r>
              <a:rPr lang="en-US" dirty="0"/>
              <a:t>The Endocannabinoid System (ECS) Is Complex</a:t>
            </a:r>
          </a:p>
        </p:txBody>
      </p:sp>
      <p:sp>
        <p:nvSpPr>
          <p:cNvPr id="3" name="Content Placeholder 2"/>
          <p:cNvSpPr>
            <a:spLocks noGrp="1"/>
          </p:cNvSpPr>
          <p:nvPr>
            <p:ph idx="1"/>
          </p:nvPr>
        </p:nvSpPr>
        <p:spPr>
          <a:xfrm>
            <a:off x="119921" y="548640"/>
            <a:ext cx="11917181" cy="6309359"/>
          </a:xfrm>
        </p:spPr>
        <p:txBody>
          <a:bodyPr>
            <a:normAutofit/>
          </a:bodyPr>
          <a:lstStyle/>
          <a:p>
            <a:pPr marL="342900" indent="-342900">
              <a:buFont typeface="Arial" panose="020B0604020202020204" pitchFamily="34" charset="0"/>
              <a:buChar char="•"/>
            </a:pPr>
            <a:r>
              <a:rPr lang="en-US" dirty="0"/>
              <a:t>The </a:t>
            </a:r>
            <a:r>
              <a:rPr lang="en-US" b="1" dirty="0"/>
              <a:t>ECS  is a widespread neuromodulatory system that plays important roles in CNS development, synaptic plasticity,</a:t>
            </a:r>
            <a:r>
              <a:rPr lang="en-US" dirty="0"/>
              <a:t> and the response to endogenous and environmental insults. </a:t>
            </a:r>
          </a:p>
          <a:p>
            <a:pPr marL="342900" indent="-342900">
              <a:buFont typeface="Arial" panose="020B0604020202020204" pitchFamily="34" charset="0"/>
              <a:buChar char="•"/>
            </a:pPr>
            <a:r>
              <a:rPr lang="en-US" dirty="0"/>
              <a:t>The ECS is comprised of </a:t>
            </a:r>
            <a:r>
              <a:rPr lang="en-US" b="1" dirty="0"/>
              <a:t>cannabinoid receptors, endogenous cannabinoids (endocannabinoids), and the enzymes responsible for the synthesis and degradation </a:t>
            </a:r>
            <a:r>
              <a:rPr lang="en-US" dirty="0"/>
              <a:t>of the endocannabinoids. </a:t>
            </a:r>
          </a:p>
          <a:p>
            <a:pPr marL="342900" indent="-342900">
              <a:buFont typeface="Arial" panose="020B0604020202020204" pitchFamily="34" charset="0"/>
              <a:buChar char="•"/>
            </a:pPr>
            <a:r>
              <a:rPr lang="en-US" dirty="0"/>
              <a:t>The </a:t>
            </a:r>
            <a:r>
              <a:rPr lang="en-US" b="1" dirty="0"/>
              <a:t>most abundant cannabinoid receptor is the CB1 cannabinoid receptors</a:t>
            </a:r>
            <a:r>
              <a:rPr lang="en-US" dirty="0"/>
              <a:t>, however CB2 cannabinoid receptors, transient receptor potential (TRP) channels, and peroxisome proliferator activated receptors (PPAR’s) are also engaged by some cannabinoids. </a:t>
            </a:r>
          </a:p>
          <a:p>
            <a:pPr marL="342900" indent="-342900">
              <a:buFont typeface="Arial" panose="020B0604020202020204" pitchFamily="34" charset="0"/>
              <a:buChar char="•"/>
            </a:pPr>
            <a:r>
              <a:rPr lang="en-US" dirty="0"/>
              <a:t>Exogenous cannabinoids produce their biological effects through their interactions with cannabinoid receptors. </a:t>
            </a:r>
          </a:p>
          <a:p>
            <a:pPr marL="342900" indent="-342900">
              <a:buFont typeface="Arial" panose="020B0604020202020204" pitchFamily="34" charset="0"/>
              <a:buChar char="•"/>
            </a:pPr>
            <a:r>
              <a:rPr lang="en-US" dirty="0"/>
              <a:t>2-arachidonoyl glycerol (2-AG) and arachidonoyl ethanolamide (anandamide) are the best-studied endogenous cannabinoids. </a:t>
            </a:r>
          </a:p>
          <a:p>
            <a:pPr marL="342900" indent="-342900">
              <a:buFont typeface="Arial" panose="020B0604020202020204" pitchFamily="34" charset="0"/>
              <a:buChar char="•"/>
            </a:pPr>
            <a:r>
              <a:rPr lang="en-US" dirty="0"/>
              <a:t>Despite similarities in chemical structure, 2-AG and anandamide are synthesized and degraded by distinct enzymatic pathways, which impart fundamentally different physiological and pathophysiological roles to these two endocannabinoids. </a:t>
            </a:r>
          </a:p>
          <a:p>
            <a:pPr marL="0" indent="0" algn="ctr">
              <a:buNone/>
            </a:pPr>
            <a:r>
              <a:rPr lang="en-US" dirty="0"/>
              <a:t>Lu and Mackie, 2016</a:t>
            </a:r>
          </a:p>
        </p:txBody>
      </p:sp>
      <p:sp>
        <p:nvSpPr>
          <p:cNvPr id="4" name="Slide Number Placeholder 3"/>
          <p:cNvSpPr>
            <a:spLocks noGrp="1"/>
          </p:cNvSpPr>
          <p:nvPr>
            <p:ph type="sldNum" sz="quarter" idx="12"/>
          </p:nvPr>
        </p:nvSpPr>
        <p:spPr/>
        <p:txBody>
          <a:bodyPr/>
          <a:lstStyle/>
          <a:p>
            <a:fld id="{4E46249D-581C-4C8F-83DD-B87371934A8D}" type="slidenum">
              <a:rPr lang="en-US" smtClean="0"/>
              <a:t>12</a:t>
            </a:fld>
            <a:endParaRPr lang="en-US" dirty="0"/>
          </a:p>
        </p:txBody>
      </p:sp>
    </p:spTree>
    <p:extLst>
      <p:ext uri="{BB962C8B-B14F-4D97-AF65-F5344CB8AC3E}">
        <p14:creationId xmlns:p14="http://schemas.microsoft.com/office/powerpoint/2010/main" val="8288012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2356"/>
            <a:ext cx="11274552" cy="822960"/>
          </a:xfrm>
        </p:spPr>
        <p:txBody>
          <a:bodyPr/>
          <a:lstStyle/>
          <a:p>
            <a:pPr algn="ctr"/>
            <a:r>
              <a:rPr lang="en-US" dirty="0"/>
              <a:t>Location of CB1 Receptors and Functions</a:t>
            </a:r>
          </a:p>
        </p:txBody>
      </p:sp>
      <p:sp>
        <p:nvSpPr>
          <p:cNvPr id="3" name="Text Placeholder 2"/>
          <p:cNvSpPr>
            <a:spLocks noGrp="1"/>
          </p:cNvSpPr>
          <p:nvPr>
            <p:ph type="body" sz="half" idx="2"/>
          </p:nvPr>
        </p:nvSpPr>
        <p:spPr/>
        <p:txBody>
          <a:bodyPr/>
          <a:lstStyle/>
          <a:p>
            <a:r>
              <a:rPr lang="en-US" dirty="0"/>
              <a:t>Zou and </a:t>
            </a:r>
            <a:r>
              <a:rPr lang="en-US" sz="2000" dirty="0"/>
              <a:t>Kumar, 2018</a:t>
            </a:r>
          </a:p>
          <a:p>
            <a:endParaRPr lang="en-US" dirty="0"/>
          </a:p>
        </p:txBody>
      </p:sp>
      <p:pic>
        <p:nvPicPr>
          <p:cNvPr id="4" name="Content Placeholder 4"/>
          <p:cNvPicPr>
            <a:picLocks noChangeAspect="1"/>
          </p:cNvPicPr>
          <p:nvPr/>
        </p:nvPicPr>
        <p:blipFill>
          <a:blip r:embed="rId2"/>
          <a:stretch>
            <a:fillRect/>
          </a:stretch>
        </p:blipFill>
        <p:spPr>
          <a:xfrm>
            <a:off x="1520480" y="721927"/>
            <a:ext cx="7896593" cy="6069371"/>
          </a:xfrm>
          <a:prstGeom prst="rect">
            <a:avLst/>
          </a:prstGeom>
        </p:spPr>
      </p:pic>
    </p:spTree>
    <p:extLst>
      <p:ext uri="{BB962C8B-B14F-4D97-AF65-F5344CB8AC3E}">
        <p14:creationId xmlns:p14="http://schemas.microsoft.com/office/powerpoint/2010/main" val="856626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8642" y="100703"/>
            <a:ext cx="11163109" cy="447937"/>
          </a:xfrm>
        </p:spPr>
        <p:txBody>
          <a:bodyPr/>
          <a:lstStyle/>
          <a:p>
            <a:pPr algn="ctr"/>
            <a:r>
              <a:rPr lang="en-US" dirty="0"/>
              <a:t>Medical Marijuana - Hawaii</a:t>
            </a:r>
          </a:p>
        </p:txBody>
      </p:sp>
      <p:sp>
        <p:nvSpPr>
          <p:cNvPr id="3" name="Content Placeholder 2"/>
          <p:cNvSpPr>
            <a:spLocks noGrp="1"/>
          </p:cNvSpPr>
          <p:nvPr>
            <p:ph idx="1"/>
          </p:nvPr>
        </p:nvSpPr>
        <p:spPr>
          <a:xfrm>
            <a:off x="179757" y="886265"/>
            <a:ext cx="11551994" cy="6288259"/>
          </a:xfrm>
        </p:spPr>
        <p:txBody>
          <a:bodyPr/>
          <a:lstStyle/>
          <a:p>
            <a:pPr marL="457200" indent="-457200">
              <a:buFont typeface="Arial" panose="020B0604020202020204" pitchFamily="34" charset="0"/>
              <a:buChar char="•"/>
            </a:pPr>
            <a:r>
              <a:rPr lang="en-US" sz="2800" b="1" dirty="0"/>
              <a:t>Passed in 2000</a:t>
            </a:r>
            <a:r>
              <a:rPr lang="en-US" sz="2800" dirty="0"/>
              <a:t>, oversight transferred to Department of Health in 2015. </a:t>
            </a:r>
          </a:p>
          <a:p>
            <a:pPr marL="457200" indent="-457200">
              <a:buFont typeface="Arial" panose="020B0604020202020204" pitchFamily="34" charset="0"/>
              <a:buChar char="•"/>
            </a:pPr>
            <a:r>
              <a:rPr lang="en-US" sz="2800" dirty="0"/>
              <a:t>Estimated 13,800 registered patients during 2015 (Pacific Business News: 7/2015). </a:t>
            </a:r>
          </a:p>
          <a:p>
            <a:pPr marL="457200" indent="-457200">
              <a:buFont typeface="Arial" panose="020B0604020202020204" pitchFamily="34" charset="0"/>
              <a:buChar char="•"/>
            </a:pPr>
            <a:r>
              <a:rPr lang="en-US" sz="2800" dirty="0"/>
              <a:t>Enrollment flattened at approximately 34,000  registered patients from June, 2021 through December, 2022,  (4% of Hawaii adults, 80% of the estimated adult prevalence of cannabis use disorder in Hawaii).</a:t>
            </a:r>
          </a:p>
          <a:p>
            <a:pPr marL="457200" indent="-457200">
              <a:buFont typeface="Arial" panose="020B0604020202020204" pitchFamily="34" charset="0"/>
              <a:buChar char="•"/>
            </a:pPr>
            <a:r>
              <a:rPr lang="en-US" sz="2800" dirty="0"/>
              <a:t>Originally only PCPs allowed to certify, as of 7/1/15, any physician must obtain a bona fide physician-patient relationship with a qualifying patient. </a:t>
            </a:r>
          </a:p>
          <a:p>
            <a:pPr algn="ctr"/>
            <a:r>
              <a:rPr lang="en-US" dirty="0">
                <a:solidFill>
                  <a:srgbClr val="00B0F0"/>
                </a:solidFill>
              </a:rPr>
              <a:t>https://health.hawaii.gov/medicalcannabisregistry/2021-data-reports/</a:t>
            </a:r>
          </a:p>
          <a:p>
            <a:endParaRPr lang="en-US" dirty="0"/>
          </a:p>
        </p:txBody>
      </p:sp>
    </p:spTree>
    <p:extLst>
      <p:ext uri="{BB962C8B-B14F-4D97-AF65-F5344CB8AC3E}">
        <p14:creationId xmlns:p14="http://schemas.microsoft.com/office/powerpoint/2010/main" val="22303012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91440"/>
            <a:ext cx="10908791" cy="548640"/>
          </a:xfrm>
        </p:spPr>
        <p:txBody>
          <a:bodyPr>
            <a:normAutofit/>
          </a:bodyPr>
          <a:lstStyle/>
          <a:p>
            <a:pPr algn="ctr"/>
            <a:r>
              <a:rPr lang="en-US" dirty="0"/>
              <a:t>Hawaii Medical Cannabis: Eligible Diagnoses</a:t>
            </a:r>
          </a:p>
        </p:txBody>
      </p:sp>
      <p:sp>
        <p:nvSpPr>
          <p:cNvPr id="3" name="Content Placeholder 2"/>
          <p:cNvSpPr>
            <a:spLocks noGrp="1"/>
          </p:cNvSpPr>
          <p:nvPr>
            <p:ph idx="1"/>
          </p:nvPr>
        </p:nvSpPr>
        <p:spPr>
          <a:xfrm>
            <a:off x="194872" y="640080"/>
            <a:ext cx="11997128" cy="6217920"/>
          </a:xfrm>
        </p:spPr>
        <p:txBody>
          <a:bodyPr>
            <a:normAutofit fontScale="85000" lnSpcReduction="20000"/>
          </a:bodyPr>
          <a:lstStyle/>
          <a:p>
            <a:pPr marL="457200" indent="-457200">
              <a:buFont typeface="Arial" panose="020B0604020202020204" pitchFamily="34" charset="0"/>
              <a:buChar char="•"/>
            </a:pPr>
            <a:r>
              <a:rPr lang="en-US" sz="2600" b="1" dirty="0"/>
              <a:t>Amyotrophic Lateral Sclerosis</a:t>
            </a:r>
            <a:r>
              <a:rPr lang="en-US" sz="2600" dirty="0"/>
              <a:t> (added effective Dec. 19, 2017 per petition process)</a:t>
            </a:r>
          </a:p>
          <a:p>
            <a:pPr marL="457200" indent="-457200">
              <a:buFont typeface="Arial" panose="020B0604020202020204" pitchFamily="34" charset="0"/>
              <a:buChar char="•"/>
            </a:pPr>
            <a:r>
              <a:rPr lang="en-US" sz="2600" b="1" dirty="0"/>
              <a:t>Cancer</a:t>
            </a:r>
            <a:endParaRPr lang="en-US" sz="2600" dirty="0"/>
          </a:p>
          <a:p>
            <a:pPr marL="457200" indent="-457200">
              <a:buFont typeface="Arial" panose="020B0604020202020204" pitchFamily="34" charset="0"/>
              <a:buChar char="•"/>
            </a:pPr>
            <a:r>
              <a:rPr lang="en-US" sz="2600" b="1" dirty="0"/>
              <a:t>Glaucoma</a:t>
            </a:r>
            <a:endParaRPr lang="en-US" sz="2600" dirty="0"/>
          </a:p>
          <a:p>
            <a:pPr marL="457200" indent="-457200">
              <a:buFont typeface="Arial" panose="020B0604020202020204" pitchFamily="34" charset="0"/>
              <a:buChar char="•"/>
            </a:pPr>
            <a:r>
              <a:rPr lang="en-US" sz="2600" b="1" dirty="0"/>
              <a:t>Lupus</a:t>
            </a:r>
            <a:r>
              <a:rPr lang="en-US" sz="2600" dirty="0"/>
              <a:t> (added effective June 29, 2017 as per </a:t>
            </a:r>
            <a:r>
              <a:rPr lang="en-US" sz="2600" u="sng" dirty="0"/>
              <a:t>Act 041</a:t>
            </a:r>
            <a:r>
              <a:rPr lang="en-US" sz="2600" dirty="0"/>
              <a:t>, SHL 2017)</a:t>
            </a:r>
          </a:p>
          <a:p>
            <a:pPr marL="457200" indent="-457200">
              <a:buFont typeface="Arial" panose="020B0604020202020204" pitchFamily="34" charset="0"/>
              <a:buChar char="•"/>
            </a:pPr>
            <a:r>
              <a:rPr lang="en-US" sz="2600" b="1" dirty="0"/>
              <a:t>Epilepsy</a:t>
            </a:r>
            <a:r>
              <a:rPr lang="en-US" sz="2600" dirty="0"/>
              <a:t> (added effective June 29, 2017 as per </a:t>
            </a:r>
            <a:r>
              <a:rPr lang="en-US" sz="2600" u="sng" dirty="0"/>
              <a:t>Act 041</a:t>
            </a:r>
            <a:r>
              <a:rPr lang="en-US" sz="2600" dirty="0"/>
              <a:t>, SHL 2017)</a:t>
            </a:r>
          </a:p>
          <a:p>
            <a:pPr marL="457200" indent="-457200">
              <a:buFont typeface="Arial" panose="020B0604020202020204" pitchFamily="34" charset="0"/>
              <a:buChar char="•"/>
            </a:pPr>
            <a:r>
              <a:rPr lang="en-US" sz="2600" b="1" dirty="0"/>
              <a:t>Multiple Sclerosis</a:t>
            </a:r>
            <a:r>
              <a:rPr lang="en-US" sz="2600" dirty="0"/>
              <a:t> (added effective June 29, 2017 as per </a:t>
            </a:r>
            <a:r>
              <a:rPr lang="en-US" sz="2600" u="sng" dirty="0"/>
              <a:t>Act 041</a:t>
            </a:r>
            <a:r>
              <a:rPr lang="en-US" sz="2600" dirty="0"/>
              <a:t>, SHL 2017)</a:t>
            </a:r>
          </a:p>
          <a:p>
            <a:pPr marL="457200" indent="-457200">
              <a:buFont typeface="Arial" panose="020B0604020202020204" pitchFamily="34" charset="0"/>
              <a:buChar char="•"/>
            </a:pPr>
            <a:r>
              <a:rPr lang="en-US" sz="2600" b="1" dirty="0"/>
              <a:t>Rheumatoid Arthritis</a:t>
            </a:r>
            <a:r>
              <a:rPr lang="en-US" sz="2600" dirty="0"/>
              <a:t> (added effective June 29, 2017 as per </a:t>
            </a:r>
            <a:r>
              <a:rPr lang="en-US" sz="2600" u="sng" dirty="0"/>
              <a:t>Act 041</a:t>
            </a:r>
            <a:r>
              <a:rPr lang="en-US" sz="2600" dirty="0"/>
              <a:t>, SHL 2017)</a:t>
            </a:r>
          </a:p>
          <a:p>
            <a:pPr marL="457200" indent="-457200">
              <a:buFont typeface="Arial" panose="020B0604020202020204" pitchFamily="34" charset="0"/>
              <a:buChar char="•"/>
            </a:pPr>
            <a:r>
              <a:rPr lang="en-US" sz="2600" b="1" dirty="0"/>
              <a:t>Positive status for human immunodeficiency virus</a:t>
            </a:r>
            <a:endParaRPr lang="en-US" sz="2600" dirty="0"/>
          </a:p>
          <a:p>
            <a:pPr marL="457200" indent="-457200">
              <a:buFont typeface="Arial" panose="020B0604020202020204" pitchFamily="34" charset="0"/>
              <a:buChar char="•"/>
            </a:pPr>
            <a:r>
              <a:rPr lang="en-US" sz="2600" b="1" dirty="0"/>
              <a:t>Acquired immune deficiency syndrome</a:t>
            </a:r>
            <a:endParaRPr lang="en-US" sz="2600" dirty="0"/>
          </a:p>
          <a:p>
            <a:pPr marL="457200" indent="-457200">
              <a:buFont typeface="Arial" panose="020B0604020202020204" pitchFamily="34" charset="0"/>
              <a:buChar char="•"/>
            </a:pPr>
            <a:r>
              <a:rPr lang="en-US" sz="2600" b="1" dirty="0"/>
              <a:t>Post-traumatic stress disorder</a:t>
            </a:r>
            <a:r>
              <a:rPr lang="en-US" sz="2600" dirty="0"/>
              <a:t> (added effective July 1, 2015 as per </a:t>
            </a:r>
            <a:r>
              <a:rPr lang="en-US" sz="2600" u="sng" dirty="0"/>
              <a:t>Act 241</a:t>
            </a:r>
            <a:r>
              <a:rPr lang="en-US" sz="2600" dirty="0"/>
              <a:t>, SLH 2015)</a:t>
            </a:r>
          </a:p>
          <a:p>
            <a:pPr marL="342900" indent="-342900">
              <a:buFont typeface="Arial" panose="020B0604020202020204" pitchFamily="34" charset="0"/>
              <a:buChar char="•"/>
            </a:pPr>
            <a:endParaRPr lang="en-US" dirty="0"/>
          </a:p>
          <a:p>
            <a:pPr marL="0" indent="0" algn="ctr">
              <a:buNone/>
            </a:pPr>
            <a:r>
              <a:rPr lang="en-US" dirty="0">
                <a:solidFill>
                  <a:srgbClr val="00B0F0"/>
                </a:solidFill>
              </a:rPr>
              <a:t>https://health.hawaii.gov/medicalcannabisregistry/providers/debilitating-medical-conditions/</a:t>
            </a:r>
          </a:p>
        </p:txBody>
      </p:sp>
      <p:sp>
        <p:nvSpPr>
          <p:cNvPr id="4" name="Slide Number Placeholder 3"/>
          <p:cNvSpPr>
            <a:spLocks noGrp="1"/>
          </p:cNvSpPr>
          <p:nvPr>
            <p:ph type="sldNum" sz="quarter" idx="12"/>
          </p:nvPr>
        </p:nvSpPr>
        <p:spPr/>
        <p:txBody>
          <a:bodyPr/>
          <a:lstStyle/>
          <a:p>
            <a:fld id="{4E46249D-581C-4C8F-83DD-B87371934A8D}" type="slidenum">
              <a:rPr lang="en-US" smtClean="0"/>
              <a:t>15</a:t>
            </a:fld>
            <a:endParaRPr lang="en-US" dirty="0"/>
          </a:p>
        </p:txBody>
      </p:sp>
    </p:spTree>
    <p:extLst>
      <p:ext uri="{BB962C8B-B14F-4D97-AF65-F5344CB8AC3E}">
        <p14:creationId xmlns:p14="http://schemas.microsoft.com/office/powerpoint/2010/main" val="15744207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78" y="91440"/>
            <a:ext cx="10908791" cy="548640"/>
          </a:xfrm>
        </p:spPr>
        <p:txBody>
          <a:bodyPr/>
          <a:lstStyle/>
          <a:p>
            <a:pPr algn="ctr"/>
            <a:r>
              <a:rPr lang="en-US" dirty="0"/>
              <a:t>Hawaii Medical Cannabis: Eligible Diagnoses (2)</a:t>
            </a:r>
          </a:p>
        </p:txBody>
      </p:sp>
      <p:sp>
        <p:nvSpPr>
          <p:cNvPr id="3" name="Content Placeholder 2"/>
          <p:cNvSpPr>
            <a:spLocks noGrp="1"/>
          </p:cNvSpPr>
          <p:nvPr>
            <p:ph idx="1"/>
          </p:nvPr>
        </p:nvSpPr>
        <p:spPr>
          <a:xfrm>
            <a:off x="254834" y="959369"/>
            <a:ext cx="11827238" cy="5561351"/>
          </a:xfrm>
        </p:spPr>
        <p:txBody>
          <a:bodyPr/>
          <a:lstStyle/>
          <a:p>
            <a:pPr fontAlgn="base"/>
            <a:r>
              <a:rPr lang="en-US" dirty="0"/>
              <a:t>The treatment of these conditions”, or “A chronic or debilitating disease or medical condition or its treatment that produces one or more of the following:</a:t>
            </a:r>
          </a:p>
          <a:p>
            <a:pPr marL="360363" lvl="1" indent="-342900">
              <a:buFont typeface="Arial" panose="020B0604020202020204" pitchFamily="34" charset="0"/>
              <a:buChar char="•"/>
            </a:pPr>
            <a:r>
              <a:rPr lang="en-US" sz="2400" dirty="0"/>
              <a:t>Cachexia or wasting syndrome</a:t>
            </a:r>
          </a:p>
          <a:p>
            <a:pPr marL="360363" lvl="1" indent="-342900">
              <a:buFont typeface="Arial" panose="020B0604020202020204" pitchFamily="34" charset="0"/>
              <a:buChar char="•"/>
            </a:pPr>
            <a:r>
              <a:rPr lang="en-US" sz="2400" dirty="0"/>
              <a:t>Severe pain</a:t>
            </a:r>
          </a:p>
          <a:p>
            <a:pPr marL="360363" lvl="1" indent="-342900">
              <a:buFont typeface="Arial" panose="020B0604020202020204" pitchFamily="34" charset="0"/>
              <a:buChar char="•"/>
            </a:pPr>
            <a:r>
              <a:rPr lang="en-US" sz="2400" dirty="0"/>
              <a:t>Severe nausea</a:t>
            </a:r>
          </a:p>
          <a:p>
            <a:pPr marL="360363" lvl="1" indent="-342900">
              <a:buFont typeface="Arial" panose="020B0604020202020204" pitchFamily="34" charset="0"/>
              <a:buChar char="•"/>
            </a:pPr>
            <a:r>
              <a:rPr lang="en-US" sz="2400" dirty="0"/>
              <a:t>Seizures, including those characteristic of epilepsy</a:t>
            </a:r>
          </a:p>
          <a:p>
            <a:pPr marL="360363" lvl="1" indent="-342900">
              <a:buFont typeface="Arial" panose="020B0604020202020204" pitchFamily="34" charset="0"/>
              <a:buChar char="•"/>
            </a:pPr>
            <a:r>
              <a:rPr lang="en-US" sz="2400" dirty="0"/>
              <a:t>Severe and persistent muscle spasms, including those characteristic of multiple sclerosis or Crohn’s disease</a:t>
            </a:r>
          </a:p>
          <a:p>
            <a:pPr lvl="1"/>
            <a:endParaRPr lang="en-US" sz="2400" b="1" dirty="0"/>
          </a:p>
          <a:p>
            <a:pPr marL="457200" lvl="1" indent="0" algn="ctr">
              <a:buNone/>
            </a:pPr>
            <a:r>
              <a:rPr lang="en-US" sz="2400" dirty="0">
                <a:solidFill>
                  <a:srgbClr val="00B0F0"/>
                </a:solidFill>
              </a:rPr>
              <a:t>https://health.hawaii.gov/medicalcannabisregistry/providers/debilitating-medical-conditions/</a:t>
            </a:r>
          </a:p>
          <a:p>
            <a:pPr marL="457200" lvl="1" indent="0">
              <a:buNone/>
            </a:pPr>
            <a:endParaRPr lang="en-US" sz="2400" dirty="0"/>
          </a:p>
          <a:p>
            <a:endParaRPr lang="en-US" dirty="0"/>
          </a:p>
        </p:txBody>
      </p:sp>
      <p:sp>
        <p:nvSpPr>
          <p:cNvPr id="4" name="Slide Number Placeholder 3"/>
          <p:cNvSpPr>
            <a:spLocks noGrp="1"/>
          </p:cNvSpPr>
          <p:nvPr>
            <p:ph type="sldNum" sz="quarter" idx="12"/>
          </p:nvPr>
        </p:nvSpPr>
        <p:spPr/>
        <p:txBody>
          <a:bodyPr/>
          <a:lstStyle/>
          <a:p>
            <a:fld id="{4E46249D-581C-4C8F-83DD-B87371934A8D}" type="slidenum">
              <a:rPr lang="en-US" smtClean="0"/>
              <a:t>16</a:t>
            </a:fld>
            <a:endParaRPr lang="en-US" dirty="0"/>
          </a:p>
        </p:txBody>
      </p:sp>
    </p:spTree>
    <p:extLst>
      <p:ext uri="{BB962C8B-B14F-4D97-AF65-F5344CB8AC3E}">
        <p14:creationId xmlns:p14="http://schemas.microsoft.com/office/powerpoint/2010/main" val="32686550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4972" y="11993"/>
            <a:ext cx="10908791" cy="548640"/>
          </a:xfrm>
        </p:spPr>
        <p:txBody>
          <a:bodyPr/>
          <a:lstStyle/>
          <a:p>
            <a:pPr algn="ctr"/>
            <a:r>
              <a:rPr lang="en-US" dirty="0"/>
              <a:t>Medical Cannabis Evidence Review</a:t>
            </a:r>
          </a:p>
        </p:txBody>
      </p:sp>
      <p:sp>
        <p:nvSpPr>
          <p:cNvPr id="3" name="Content Placeholder 2"/>
          <p:cNvSpPr>
            <a:spLocks noGrp="1"/>
          </p:cNvSpPr>
          <p:nvPr>
            <p:ph idx="1"/>
          </p:nvPr>
        </p:nvSpPr>
        <p:spPr>
          <a:xfrm>
            <a:off x="0" y="605603"/>
            <a:ext cx="12007121" cy="6139971"/>
          </a:xfrm>
        </p:spPr>
        <p:txBody>
          <a:bodyPr>
            <a:normAutofit/>
          </a:bodyPr>
          <a:lstStyle/>
          <a:p>
            <a:pPr marL="342900" indent="-342900">
              <a:buFont typeface="Arial" panose="020B0604020202020204" pitchFamily="34" charset="0"/>
              <a:buChar char="•"/>
            </a:pPr>
            <a:r>
              <a:rPr lang="en-US" sz="2800" b="1" dirty="0"/>
              <a:t>The National Academies of Sciences, Engineering and Medicine conducted a comprehensive review of recent medical literature on The Health Effects of Cannabis and Cannabinoids. </a:t>
            </a:r>
          </a:p>
          <a:p>
            <a:pPr marL="342900" indent="-342900">
              <a:buFont typeface="Arial" panose="020B0604020202020204" pitchFamily="34" charset="0"/>
              <a:buChar char="•"/>
            </a:pPr>
            <a:r>
              <a:rPr lang="en-US" sz="2800" dirty="0"/>
              <a:t>Considered 10,000 recent abstracts to determine their relevance. </a:t>
            </a:r>
          </a:p>
          <a:p>
            <a:pPr marL="342900" indent="-342900">
              <a:buFont typeface="Arial" panose="020B0604020202020204" pitchFamily="34" charset="0"/>
              <a:buChar char="•"/>
            </a:pPr>
            <a:r>
              <a:rPr lang="en-US" sz="2800" dirty="0"/>
              <a:t>The committee categorized the weight of evidence regarding whether Cannabis or cannabinoids use for therapeutic purposes are an effective or ineffective treatment. </a:t>
            </a:r>
          </a:p>
          <a:p>
            <a:pPr marL="342900" indent="-342900">
              <a:buFont typeface="Arial" panose="020B0604020202020204" pitchFamily="34" charset="0"/>
              <a:buChar char="•"/>
            </a:pPr>
            <a:r>
              <a:rPr lang="en-US" sz="2800" dirty="0"/>
              <a:t>The report concluded that there was conclusive or substantial evidence that Cannabis or cannabinoids are </a:t>
            </a:r>
            <a:r>
              <a:rPr lang="en-US" sz="2800" b="1" dirty="0"/>
              <a:t>effective for the treatment of pain in adults; chemotherapy-induced nausea and vomiting and spasticity associated with multiple sclerosis. </a:t>
            </a:r>
          </a:p>
          <a:p>
            <a:pPr marL="0" indent="0" algn="ctr">
              <a:buNone/>
            </a:pPr>
            <a:r>
              <a:rPr lang="en-US" dirty="0"/>
              <a:t>Abrams, 2018</a:t>
            </a:r>
          </a:p>
        </p:txBody>
      </p:sp>
      <p:sp>
        <p:nvSpPr>
          <p:cNvPr id="4" name="Slide Number Placeholder 3"/>
          <p:cNvSpPr>
            <a:spLocks noGrp="1"/>
          </p:cNvSpPr>
          <p:nvPr>
            <p:ph type="sldNum" sz="quarter" idx="12"/>
          </p:nvPr>
        </p:nvSpPr>
        <p:spPr/>
        <p:txBody>
          <a:bodyPr/>
          <a:lstStyle/>
          <a:p>
            <a:fld id="{4E46249D-581C-4C8F-83DD-B87371934A8D}" type="slidenum">
              <a:rPr lang="en-US" smtClean="0"/>
              <a:t>17</a:t>
            </a:fld>
            <a:endParaRPr lang="en-US" dirty="0"/>
          </a:p>
        </p:txBody>
      </p:sp>
    </p:spTree>
    <p:extLst>
      <p:ext uri="{BB962C8B-B14F-4D97-AF65-F5344CB8AC3E}">
        <p14:creationId xmlns:p14="http://schemas.microsoft.com/office/powerpoint/2010/main" val="23252886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4972" y="11993"/>
            <a:ext cx="10908791" cy="548640"/>
          </a:xfrm>
        </p:spPr>
        <p:txBody>
          <a:bodyPr/>
          <a:lstStyle/>
          <a:p>
            <a:pPr algn="ctr"/>
            <a:r>
              <a:rPr lang="en-US" dirty="0"/>
              <a:t>Medical Cannabis Evidence Review (2)</a:t>
            </a:r>
          </a:p>
        </p:txBody>
      </p:sp>
      <p:sp>
        <p:nvSpPr>
          <p:cNvPr id="3" name="Content Placeholder 2"/>
          <p:cNvSpPr>
            <a:spLocks noGrp="1"/>
          </p:cNvSpPr>
          <p:nvPr>
            <p:ph idx="1"/>
          </p:nvPr>
        </p:nvSpPr>
        <p:spPr>
          <a:xfrm>
            <a:off x="0" y="995347"/>
            <a:ext cx="12007121" cy="6139971"/>
          </a:xfrm>
        </p:spPr>
        <p:txBody>
          <a:bodyPr>
            <a:normAutofit/>
          </a:bodyPr>
          <a:lstStyle/>
          <a:p>
            <a:pPr marL="457200" indent="-457200">
              <a:buFont typeface="Arial" panose="020B0604020202020204" pitchFamily="34" charset="0"/>
              <a:buChar char="•"/>
            </a:pPr>
            <a:r>
              <a:rPr lang="en-US" sz="3200" b="1" dirty="0"/>
              <a:t>Moderate evidence was found for secondary sleep disturbances</a:t>
            </a:r>
            <a:r>
              <a:rPr lang="en-US" sz="3200" dirty="0"/>
              <a:t>. </a:t>
            </a:r>
          </a:p>
          <a:p>
            <a:pPr marL="457200" indent="-457200">
              <a:buFont typeface="Arial" panose="020B0604020202020204" pitchFamily="34" charset="0"/>
              <a:buChar char="•"/>
            </a:pPr>
            <a:r>
              <a:rPr lang="en-US" sz="3200" dirty="0"/>
              <a:t>The evidence supporting </a:t>
            </a:r>
            <a:r>
              <a:rPr lang="en-US" sz="3200" b="1" dirty="0"/>
              <a:t>improvement in appetite, Tourette syndrome, anxiety, posttraumatic stress disorder, cancer, irritable bowel syndrome, epilepsy and a variety of neurodegenerative disorders was described as limited, insufficient or absent. </a:t>
            </a:r>
          </a:p>
          <a:p>
            <a:pPr marL="0" indent="0" algn="ctr">
              <a:buNone/>
            </a:pPr>
            <a:r>
              <a:rPr lang="en-US" sz="2400" dirty="0"/>
              <a:t>Abrams, 2018</a:t>
            </a:r>
          </a:p>
        </p:txBody>
      </p:sp>
      <p:sp>
        <p:nvSpPr>
          <p:cNvPr id="4" name="Slide Number Placeholder 3"/>
          <p:cNvSpPr>
            <a:spLocks noGrp="1"/>
          </p:cNvSpPr>
          <p:nvPr>
            <p:ph type="sldNum" sz="quarter" idx="12"/>
          </p:nvPr>
        </p:nvSpPr>
        <p:spPr/>
        <p:txBody>
          <a:bodyPr/>
          <a:lstStyle/>
          <a:p>
            <a:fld id="{4E46249D-581C-4C8F-83DD-B87371934A8D}" type="slidenum">
              <a:rPr lang="en-US" smtClean="0"/>
              <a:t>18</a:t>
            </a:fld>
            <a:endParaRPr lang="en-US" dirty="0"/>
          </a:p>
        </p:txBody>
      </p:sp>
    </p:spTree>
    <p:extLst>
      <p:ext uri="{BB962C8B-B14F-4D97-AF65-F5344CB8AC3E}">
        <p14:creationId xmlns:p14="http://schemas.microsoft.com/office/powerpoint/2010/main" val="17219649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101933"/>
            <a:ext cx="10908791" cy="548640"/>
          </a:xfrm>
        </p:spPr>
        <p:txBody>
          <a:bodyPr>
            <a:normAutofit/>
          </a:bodyPr>
          <a:lstStyle/>
          <a:p>
            <a:pPr algn="ctr"/>
            <a:r>
              <a:rPr lang="en-US" dirty="0"/>
              <a:t>Medical Cannabis Evidence Review: Mental Health</a:t>
            </a:r>
          </a:p>
        </p:txBody>
      </p:sp>
      <p:sp>
        <p:nvSpPr>
          <p:cNvPr id="3" name="Content Placeholder 2"/>
          <p:cNvSpPr>
            <a:spLocks noGrp="1"/>
          </p:cNvSpPr>
          <p:nvPr>
            <p:ph idx="1"/>
          </p:nvPr>
        </p:nvSpPr>
        <p:spPr>
          <a:xfrm>
            <a:off x="119922" y="1220199"/>
            <a:ext cx="12072078" cy="5525375"/>
          </a:xfrm>
        </p:spPr>
        <p:txBody>
          <a:bodyPr>
            <a:normAutofit/>
          </a:bodyPr>
          <a:lstStyle/>
          <a:p>
            <a:pPr marL="342900" indent="-342900">
              <a:buFont typeface="Arial" panose="020B0604020202020204" pitchFamily="34" charset="0"/>
              <a:buChar char="•"/>
            </a:pPr>
            <a:r>
              <a:rPr lang="en-US" sz="2800" dirty="0"/>
              <a:t>The utility of cannabinoids and cannabinoid-based products (CBPs) as a pharmacological aid to treat psychiatric disorders in adulthood is still poorly understood.</a:t>
            </a:r>
          </a:p>
          <a:p>
            <a:pPr marL="457200" indent="-457200">
              <a:buFont typeface="Arial" panose="020B0604020202020204" pitchFamily="34" charset="0"/>
              <a:buChar char="•"/>
            </a:pPr>
            <a:r>
              <a:rPr lang="en-US" sz="2800" dirty="0"/>
              <a:t>This review and meta-analysis aimed to aggregate and evaluate all current high-quality research that specifically assessed </a:t>
            </a:r>
            <a:r>
              <a:rPr lang="en-US" sz="2800" b="1" dirty="0"/>
              <a:t>the effectiveness of a CBP on a diagnosed adult psychiatric disorder.</a:t>
            </a:r>
          </a:p>
          <a:p>
            <a:pPr marL="457200" indent="-457200">
              <a:buFont typeface="Arial" panose="020B0604020202020204" pitchFamily="34" charset="0"/>
              <a:buChar char="•"/>
            </a:pPr>
            <a:r>
              <a:rPr lang="en-US" sz="2800" dirty="0"/>
              <a:t>thirty-one RCTs met criteria for inclusion.</a:t>
            </a:r>
            <a:endParaRPr lang="en-US" sz="2800" b="1" dirty="0"/>
          </a:p>
          <a:p>
            <a:pPr marL="457200" indent="-457200">
              <a:buFont typeface="Arial" panose="020B0604020202020204" pitchFamily="34" charset="0"/>
              <a:buChar char="•"/>
            </a:pPr>
            <a:r>
              <a:rPr lang="en-US" sz="2800" dirty="0"/>
              <a:t>This review finds limited evidence for the effectiveness of CBPs to acutely treat a narrow range of psychiatric symptoms. </a:t>
            </a:r>
          </a:p>
          <a:p>
            <a:pPr marL="0" indent="0" algn="ctr">
              <a:buNone/>
            </a:pPr>
            <a:r>
              <a:rPr lang="it-IT" sz="2800" dirty="0"/>
              <a:t>McKee, Hmidan, Crocker et al., 2021</a:t>
            </a:r>
            <a:endParaRPr lang="en-US" sz="2800" dirty="0"/>
          </a:p>
        </p:txBody>
      </p:sp>
      <p:sp>
        <p:nvSpPr>
          <p:cNvPr id="4" name="Slide Number Placeholder 3"/>
          <p:cNvSpPr>
            <a:spLocks noGrp="1"/>
          </p:cNvSpPr>
          <p:nvPr>
            <p:ph type="sldNum" sz="quarter" idx="12"/>
          </p:nvPr>
        </p:nvSpPr>
        <p:spPr/>
        <p:txBody>
          <a:bodyPr/>
          <a:lstStyle/>
          <a:p>
            <a:fld id="{4E46249D-581C-4C8F-83DD-B87371934A8D}" type="slidenum">
              <a:rPr lang="en-US" smtClean="0"/>
              <a:t>19</a:t>
            </a:fld>
            <a:endParaRPr lang="en-US" dirty="0"/>
          </a:p>
        </p:txBody>
      </p:sp>
    </p:spTree>
    <p:extLst>
      <p:ext uri="{BB962C8B-B14F-4D97-AF65-F5344CB8AC3E}">
        <p14:creationId xmlns:p14="http://schemas.microsoft.com/office/powerpoint/2010/main" val="2942274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610500" y="411693"/>
            <a:ext cx="10908792" cy="548640"/>
          </a:xfrm>
        </p:spPr>
        <p:txBody>
          <a:bodyPr>
            <a:normAutofit/>
          </a:bodyPr>
          <a:lstStyle/>
          <a:p>
            <a:pPr algn="ctr"/>
            <a:r>
              <a:rPr lang="en-US" dirty="0"/>
              <a:t>Educational Objectives</a:t>
            </a:r>
          </a:p>
        </p:txBody>
      </p:sp>
      <p:sp>
        <p:nvSpPr>
          <p:cNvPr id="6" name="Content Placeholder 2"/>
          <p:cNvSpPr>
            <a:spLocks noGrp="1"/>
          </p:cNvSpPr>
          <p:nvPr>
            <p:ph type="body" sz="quarter" idx="10"/>
          </p:nvPr>
        </p:nvSpPr>
        <p:spPr>
          <a:xfrm>
            <a:off x="0" y="1336050"/>
            <a:ext cx="12192000" cy="5749454"/>
          </a:xfrm>
        </p:spPr>
        <p:txBody>
          <a:bodyPr>
            <a:normAutofit/>
          </a:bodyPr>
          <a:lstStyle/>
          <a:p>
            <a:r>
              <a:rPr lang="en-US" sz="2800" dirty="0">
                <a:solidFill>
                  <a:schemeClr val="tx2"/>
                </a:solidFill>
              </a:rPr>
              <a:t>At the end of this session, physicians will be able to:</a:t>
            </a:r>
          </a:p>
          <a:p>
            <a:pPr marL="514350" indent="-514350">
              <a:buFont typeface="+mj-lt"/>
              <a:buAutoNum type="arabicPeriod"/>
            </a:pPr>
            <a:r>
              <a:rPr lang="en-US" sz="2800" dirty="0">
                <a:solidFill>
                  <a:schemeClr val="tx2"/>
                </a:solidFill>
              </a:rPr>
              <a:t>Describe how the changing legal status of cannabis has affected the prevalence of cannabis use and cannabis use disorder in the United States.</a:t>
            </a:r>
          </a:p>
          <a:p>
            <a:pPr marL="514350" indent="-514350">
              <a:buFont typeface="+mj-lt"/>
              <a:buAutoNum type="arabicPeriod"/>
            </a:pPr>
            <a:r>
              <a:rPr lang="en-US" sz="2800" dirty="0">
                <a:solidFill>
                  <a:schemeClr val="tx2"/>
                </a:solidFill>
              </a:rPr>
              <a:t>Identify the conditions that that have evidence support for medical cannabis use.</a:t>
            </a:r>
          </a:p>
          <a:p>
            <a:pPr marL="514350" indent="-514350">
              <a:buFont typeface="+mj-lt"/>
              <a:buAutoNum type="arabicPeriod"/>
            </a:pPr>
            <a:r>
              <a:rPr lang="en-US" sz="2800" dirty="0">
                <a:solidFill>
                  <a:schemeClr val="tx2"/>
                </a:solidFill>
              </a:rPr>
              <a:t>List common adverse effects of cannabis.</a:t>
            </a:r>
          </a:p>
          <a:p>
            <a:pPr marL="514350" indent="-514350">
              <a:buFont typeface="+mj-lt"/>
              <a:buAutoNum type="arabicPeriod"/>
            </a:pPr>
            <a:r>
              <a:rPr lang="en-US" sz="2800" dirty="0">
                <a:solidFill>
                  <a:schemeClr val="tx2"/>
                </a:solidFill>
              </a:rPr>
              <a:t>Describe the effects of cannabis on cognition, psychosis risk, depression and suicide ideation and attempts among adolescents and early adults.  </a:t>
            </a:r>
          </a:p>
          <a:p>
            <a:r>
              <a:rPr lang="en-US" sz="2800" dirty="0"/>
              <a:t>  </a:t>
            </a:r>
          </a:p>
          <a:p>
            <a:endParaRPr lang="en-US" sz="2600" dirty="0"/>
          </a:p>
          <a:p>
            <a:endParaRPr lang="en-US" sz="2800" dirty="0"/>
          </a:p>
          <a:p>
            <a:endParaRPr lang="en-US" sz="2800" dirty="0"/>
          </a:p>
          <a:p>
            <a:endParaRPr lang="en-US" dirty="0"/>
          </a:p>
        </p:txBody>
      </p:sp>
    </p:spTree>
    <p:extLst>
      <p:ext uri="{BB962C8B-B14F-4D97-AF65-F5344CB8AC3E}">
        <p14:creationId xmlns:p14="http://schemas.microsoft.com/office/powerpoint/2010/main" val="291311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101933"/>
            <a:ext cx="10908791" cy="548640"/>
          </a:xfrm>
        </p:spPr>
        <p:txBody>
          <a:bodyPr>
            <a:normAutofit/>
          </a:bodyPr>
          <a:lstStyle/>
          <a:p>
            <a:pPr algn="ctr"/>
            <a:r>
              <a:rPr lang="en-US" dirty="0"/>
              <a:t>Medical Cannabis Evidence Review: Mental Health (2)</a:t>
            </a:r>
          </a:p>
        </p:txBody>
      </p:sp>
      <p:sp>
        <p:nvSpPr>
          <p:cNvPr id="3" name="Content Placeholder 2"/>
          <p:cNvSpPr>
            <a:spLocks noGrp="1"/>
          </p:cNvSpPr>
          <p:nvPr>
            <p:ph idx="1"/>
          </p:nvPr>
        </p:nvSpPr>
        <p:spPr>
          <a:xfrm>
            <a:off x="119922" y="965367"/>
            <a:ext cx="12072078" cy="5450423"/>
          </a:xfrm>
        </p:spPr>
        <p:txBody>
          <a:bodyPr>
            <a:noAutofit/>
          </a:bodyPr>
          <a:lstStyle/>
          <a:p>
            <a:pPr marL="457200" indent="-457200">
              <a:buFont typeface="Arial" panose="020B0604020202020204" pitchFamily="34" charset="0"/>
              <a:buChar char="•"/>
            </a:pPr>
            <a:r>
              <a:rPr lang="en-US" sz="2800" b="1" dirty="0"/>
              <a:t>We report no evidence supporting the mid- to long-range effectiveness of any currently available CBP</a:t>
            </a:r>
            <a:r>
              <a:rPr lang="en-US" sz="2800" dirty="0"/>
              <a:t>. </a:t>
            </a:r>
          </a:p>
          <a:p>
            <a:pPr marL="457200" indent="-457200">
              <a:buFont typeface="Arial" panose="020B0604020202020204" pitchFamily="34" charset="0"/>
              <a:buChar char="•"/>
            </a:pPr>
            <a:r>
              <a:rPr lang="en-US" sz="2800" dirty="0"/>
              <a:t>In general, quality of the evidence was assessed as low- to moderate. </a:t>
            </a:r>
          </a:p>
          <a:p>
            <a:pPr marL="457200" indent="-457200">
              <a:buFont typeface="Arial" panose="020B0604020202020204" pitchFamily="34" charset="0"/>
              <a:buChar char="•"/>
            </a:pPr>
            <a:r>
              <a:rPr lang="en-US" sz="2800" dirty="0"/>
              <a:t>Importantly, </a:t>
            </a:r>
            <a:r>
              <a:rPr lang="en-US" sz="2800" b="1" dirty="0"/>
              <a:t>none of the studies discussed in this review presently endorse the use of cannabis flower as a method of treatment for any recognized psychiatric disorder</a:t>
            </a:r>
            <a:r>
              <a:rPr lang="en-US" sz="2800" dirty="0"/>
              <a:t>. </a:t>
            </a:r>
          </a:p>
          <a:p>
            <a:pPr marL="457200" indent="-457200">
              <a:buFont typeface="Arial" panose="020B0604020202020204" pitchFamily="34" charset="0"/>
              <a:buChar char="•"/>
            </a:pPr>
            <a:r>
              <a:rPr lang="en-US" sz="2800" dirty="0"/>
              <a:t>Larger, hypothesis driven RCTs are required prior to making further therapeutic recommendations </a:t>
            </a:r>
          </a:p>
          <a:p>
            <a:pPr marL="0" indent="0" algn="ctr">
              <a:buNone/>
            </a:pPr>
            <a:r>
              <a:rPr lang="it-IT" sz="2800" dirty="0"/>
              <a:t> </a:t>
            </a:r>
            <a:r>
              <a:rPr lang="de-DE" sz="2800" dirty="0"/>
              <a:t>Hoch, Niemann, Keller et al., 2019; </a:t>
            </a:r>
            <a:r>
              <a:rPr lang="it-IT" sz="2800" dirty="0"/>
              <a:t>McKee, Hmidan, Crocker et al., 2021</a:t>
            </a:r>
            <a:endParaRPr lang="en-US" sz="2800" dirty="0"/>
          </a:p>
          <a:p>
            <a:endParaRPr lang="en-US" sz="2800" dirty="0"/>
          </a:p>
        </p:txBody>
      </p:sp>
      <p:sp>
        <p:nvSpPr>
          <p:cNvPr id="4" name="Slide Number Placeholder 3"/>
          <p:cNvSpPr>
            <a:spLocks noGrp="1"/>
          </p:cNvSpPr>
          <p:nvPr>
            <p:ph type="sldNum" sz="quarter" idx="12"/>
          </p:nvPr>
        </p:nvSpPr>
        <p:spPr/>
        <p:txBody>
          <a:bodyPr/>
          <a:lstStyle/>
          <a:p>
            <a:fld id="{4E46249D-581C-4C8F-83DD-B87371934A8D}" type="slidenum">
              <a:rPr lang="en-US" smtClean="0"/>
              <a:t>20</a:t>
            </a:fld>
            <a:endParaRPr lang="en-US" dirty="0"/>
          </a:p>
        </p:txBody>
      </p:sp>
    </p:spTree>
    <p:extLst>
      <p:ext uri="{BB962C8B-B14F-4D97-AF65-F5344CB8AC3E}">
        <p14:creationId xmlns:p14="http://schemas.microsoft.com/office/powerpoint/2010/main" val="42741680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91440"/>
            <a:ext cx="10908791" cy="548640"/>
          </a:xfrm>
        </p:spPr>
        <p:txBody>
          <a:bodyPr/>
          <a:lstStyle/>
          <a:p>
            <a:pPr algn="ctr"/>
            <a:r>
              <a:rPr lang="en-US" dirty="0"/>
              <a:t>Mental illness Among Medical Cannabis Users</a:t>
            </a:r>
          </a:p>
        </p:txBody>
      </p:sp>
      <p:sp>
        <p:nvSpPr>
          <p:cNvPr id="3" name="Content Placeholder 2"/>
          <p:cNvSpPr>
            <a:spLocks noGrp="1"/>
          </p:cNvSpPr>
          <p:nvPr>
            <p:ph idx="1"/>
          </p:nvPr>
        </p:nvSpPr>
        <p:spPr>
          <a:xfrm>
            <a:off x="314793" y="839449"/>
            <a:ext cx="11692327" cy="4646951"/>
          </a:xfrm>
        </p:spPr>
        <p:txBody>
          <a:bodyPr>
            <a:noAutofit/>
          </a:bodyPr>
          <a:lstStyle/>
          <a:p>
            <a:pPr marL="457200" indent="-457200">
              <a:buFont typeface="Arial" panose="020B0604020202020204" pitchFamily="34" charset="0"/>
              <a:buChar char="•"/>
            </a:pPr>
            <a:r>
              <a:rPr lang="en-US" sz="2800" b="1" dirty="0"/>
              <a:t>Lifetime prevalence of mental illness in this cohort was high, and a large proportion of subjects endorsed psychological symptoms</a:t>
            </a:r>
            <a:r>
              <a:rPr lang="en-US" sz="2800" dirty="0"/>
              <a:t>. </a:t>
            </a:r>
          </a:p>
          <a:p>
            <a:pPr marL="457200" indent="-457200">
              <a:buFont typeface="Arial" panose="020B0604020202020204" pitchFamily="34" charset="0"/>
              <a:buChar char="•"/>
            </a:pPr>
            <a:r>
              <a:rPr lang="en-US" sz="2800" dirty="0"/>
              <a:t>The proportion of subjects who met criteria for classification of a current psychiatric disorder was low for mood disorders, </a:t>
            </a:r>
            <a:r>
              <a:rPr lang="en-US" sz="2800" b="1" dirty="0"/>
              <a:t>but high for anxiety disorders and substance abuse/dependence. </a:t>
            </a:r>
          </a:p>
          <a:p>
            <a:pPr marL="457200" indent="-457200">
              <a:buFont typeface="Arial" panose="020B0604020202020204" pitchFamily="34" charset="0"/>
              <a:buChar char="•"/>
            </a:pPr>
            <a:r>
              <a:rPr lang="en-US" sz="2800" dirty="0"/>
              <a:t>Cannabis use differed between the main psychiatric conditions.</a:t>
            </a:r>
          </a:p>
          <a:p>
            <a:pPr marL="457200" indent="-457200">
              <a:buFont typeface="Arial" panose="020B0604020202020204" pitchFamily="34" charset="0"/>
              <a:buChar char="•"/>
            </a:pPr>
            <a:r>
              <a:rPr lang="en-US" sz="2800" dirty="0"/>
              <a:t>Conclusions: </a:t>
            </a:r>
            <a:r>
              <a:rPr lang="en-US" sz="2800" b="1" dirty="0"/>
              <a:t>The present results indicate that rates of mental illness may be high in medical cannabis dispensary users</a:t>
            </a:r>
            <a:r>
              <a:rPr lang="en-US" sz="2800" dirty="0"/>
              <a:t>. </a:t>
            </a:r>
          </a:p>
          <a:p>
            <a:pPr marL="0" indent="0" algn="ctr">
              <a:buNone/>
            </a:pPr>
            <a:r>
              <a:rPr lang="en-US" sz="2800" dirty="0"/>
              <a:t>Yau, Yu, Panenka et al., 2019</a:t>
            </a:r>
          </a:p>
        </p:txBody>
      </p:sp>
      <p:sp>
        <p:nvSpPr>
          <p:cNvPr id="4" name="Slide Number Placeholder 3"/>
          <p:cNvSpPr>
            <a:spLocks noGrp="1"/>
          </p:cNvSpPr>
          <p:nvPr>
            <p:ph type="sldNum" sz="quarter" idx="12"/>
          </p:nvPr>
        </p:nvSpPr>
        <p:spPr/>
        <p:txBody>
          <a:bodyPr/>
          <a:lstStyle/>
          <a:p>
            <a:fld id="{4E46249D-581C-4C8F-83DD-B87371934A8D}" type="slidenum">
              <a:rPr lang="en-US" smtClean="0"/>
              <a:t>21</a:t>
            </a:fld>
            <a:endParaRPr lang="en-US" dirty="0"/>
          </a:p>
        </p:txBody>
      </p:sp>
    </p:spTree>
    <p:extLst>
      <p:ext uri="{BB962C8B-B14F-4D97-AF65-F5344CB8AC3E}">
        <p14:creationId xmlns:p14="http://schemas.microsoft.com/office/powerpoint/2010/main" val="7902560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78" y="91440"/>
            <a:ext cx="10908791" cy="548640"/>
          </a:xfrm>
        </p:spPr>
        <p:txBody>
          <a:bodyPr/>
          <a:lstStyle/>
          <a:p>
            <a:pPr algn="ctr"/>
            <a:r>
              <a:rPr lang="en-US" dirty="0"/>
              <a:t>Medical Cannabis May Benefit But Adverse Effects Are Common</a:t>
            </a:r>
          </a:p>
        </p:txBody>
      </p:sp>
      <p:sp>
        <p:nvSpPr>
          <p:cNvPr id="3" name="Content Placeholder 2"/>
          <p:cNvSpPr>
            <a:spLocks noGrp="1"/>
          </p:cNvSpPr>
          <p:nvPr>
            <p:ph idx="1"/>
          </p:nvPr>
        </p:nvSpPr>
        <p:spPr>
          <a:xfrm>
            <a:off x="119922" y="779489"/>
            <a:ext cx="11932170" cy="5906124"/>
          </a:xfrm>
        </p:spPr>
        <p:txBody>
          <a:bodyPr>
            <a:normAutofit/>
          </a:bodyPr>
          <a:lstStyle/>
          <a:p>
            <a:pPr marL="342900" indent="-342900">
              <a:buFont typeface="Arial" panose="020B0604020202020204" pitchFamily="34" charset="0"/>
              <a:buChar char="•"/>
            </a:pPr>
            <a:r>
              <a:rPr lang="en-US" sz="2400" dirty="0"/>
              <a:t>In the general population, there is substantive evidence for statistical associations between: </a:t>
            </a:r>
          </a:p>
          <a:p>
            <a:pPr marL="342900" indent="-342900">
              <a:buFont typeface="Arial" panose="020B0604020202020204" pitchFamily="34" charset="0"/>
              <a:buChar char="•"/>
            </a:pPr>
            <a:r>
              <a:rPr lang="en-US" sz="2400" b="1" dirty="0"/>
              <a:t>Cannabis use and increased risk of motor vehicle crashes; </a:t>
            </a:r>
          </a:p>
          <a:p>
            <a:pPr marL="342900" indent="-342900">
              <a:buFont typeface="Arial" panose="020B0604020202020204" pitchFamily="34" charset="0"/>
              <a:buChar char="•"/>
            </a:pPr>
            <a:r>
              <a:rPr lang="en-US" sz="2400" b="1" dirty="0"/>
              <a:t>The development of psychoses with the highest risk among the most frequent and high potency cannabis users</a:t>
            </a:r>
            <a:r>
              <a:rPr lang="en-US" sz="2400" dirty="0"/>
              <a:t>; </a:t>
            </a:r>
          </a:p>
          <a:p>
            <a:pPr marL="342900" indent="-342900">
              <a:buFont typeface="Arial" panose="020B0604020202020204" pitchFamily="34" charset="0"/>
              <a:buChar char="•"/>
            </a:pPr>
            <a:r>
              <a:rPr lang="en-US" sz="2400" dirty="0"/>
              <a:t>Increased </a:t>
            </a:r>
            <a:r>
              <a:rPr lang="en-US" sz="2400" b="1" dirty="0"/>
              <a:t>cannabis use frequency and the progression to developing problem cannabis use</a:t>
            </a:r>
            <a:r>
              <a:rPr lang="en-US" sz="2400" dirty="0"/>
              <a:t>; </a:t>
            </a:r>
          </a:p>
          <a:p>
            <a:pPr marL="342900" indent="-342900">
              <a:buFont typeface="Arial" panose="020B0604020202020204" pitchFamily="34" charset="0"/>
              <a:buChar char="•"/>
            </a:pPr>
            <a:r>
              <a:rPr lang="en-US" sz="2400" b="1" dirty="0"/>
              <a:t>Adverse birth outcome in the offspring of mothers with cannabis smoking habits</a:t>
            </a:r>
            <a:r>
              <a:rPr lang="en-US" sz="2400" dirty="0"/>
              <a:t>; and </a:t>
            </a:r>
          </a:p>
          <a:p>
            <a:pPr marL="342900" indent="-342900">
              <a:buFont typeface="Arial" panose="020B0604020202020204" pitchFamily="34" charset="0"/>
              <a:buChar char="•"/>
            </a:pPr>
            <a:r>
              <a:rPr lang="en-US" sz="2400" dirty="0"/>
              <a:t>Worse respiratory symptoms and more frequent chronic bronchitis episodes with long-term cannabis smoking.</a:t>
            </a:r>
          </a:p>
          <a:p>
            <a:pPr marL="0" indent="0" algn="ctr">
              <a:buNone/>
            </a:pPr>
            <a:r>
              <a:rPr lang="en-US" dirty="0"/>
              <a:t>National Academies of Sciences, 2017</a:t>
            </a:r>
          </a:p>
          <a:p>
            <a:endParaRPr lang="en-US" sz="2000" dirty="0"/>
          </a:p>
          <a:p>
            <a:endParaRPr lang="en-US" dirty="0"/>
          </a:p>
        </p:txBody>
      </p:sp>
      <p:sp>
        <p:nvSpPr>
          <p:cNvPr id="4" name="Slide Number Placeholder 3"/>
          <p:cNvSpPr>
            <a:spLocks noGrp="1"/>
          </p:cNvSpPr>
          <p:nvPr>
            <p:ph type="sldNum" sz="quarter" idx="12"/>
          </p:nvPr>
        </p:nvSpPr>
        <p:spPr/>
        <p:txBody>
          <a:bodyPr/>
          <a:lstStyle/>
          <a:p>
            <a:fld id="{4E46249D-581C-4C8F-83DD-B87371934A8D}" type="slidenum">
              <a:rPr lang="en-US" smtClean="0"/>
              <a:t>22</a:t>
            </a:fld>
            <a:endParaRPr lang="en-US" dirty="0"/>
          </a:p>
        </p:txBody>
      </p:sp>
    </p:spTree>
    <p:extLst>
      <p:ext uri="{BB962C8B-B14F-4D97-AF65-F5344CB8AC3E}">
        <p14:creationId xmlns:p14="http://schemas.microsoft.com/office/powerpoint/2010/main" val="23145619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235346"/>
            <a:ext cx="10908791" cy="548640"/>
          </a:xfrm>
        </p:spPr>
        <p:txBody>
          <a:bodyPr>
            <a:normAutofit fontScale="90000"/>
          </a:bodyPr>
          <a:lstStyle/>
          <a:p>
            <a:pPr algn="ctr"/>
            <a:r>
              <a:rPr lang="en-US" b="1" dirty="0"/>
              <a:t>Cannabinoids Adversely Affect Human Cognition</a:t>
            </a:r>
            <a:br>
              <a:rPr lang="en-US" dirty="0"/>
            </a:br>
            <a:endParaRPr lang="en-US" dirty="0"/>
          </a:p>
        </p:txBody>
      </p:sp>
      <p:sp>
        <p:nvSpPr>
          <p:cNvPr id="3" name="Content Placeholder 2"/>
          <p:cNvSpPr>
            <a:spLocks noGrp="1"/>
          </p:cNvSpPr>
          <p:nvPr>
            <p:ph idx="1"/>
          </p:nvPr>
        </p:nvSpPr>
        <p:spPr>
          <a:xfrm>
            <a:off x="224852" y="783986"/>
            <a:ext cx="11967148" cy="6074014"/>
          </a:xfrm>
        </p:spPr>
        <p:txBody>
          <a:bodyPr>
            <a:noAutofit/>
          </a:bodyPr>
          <a:lstStyle/>
          <a:p>
            <a:pPr marL="457200" indent="-457200">
              <a:buFont typeface="Arial" panose="020B0604020202020204" pitchFamily="34" charset="0"/>
              <a:buChar char="•"/>
            </a:pPr>
            <a:r>
              <a:rPr lang="en-US" sz="2800" b="1" dirty="0"/>
              <a:t>Verbal learning and memory and attention are most consistently impaired </a:t>
            </a:r>
            <a:r>
              <a:rPr lang="en-US" sz="2800" dirty="0"/>
              <a:t>by acute and chronic exposure to cannabis. </a:t>
            </a:r>
          </a:p>
          <a:p>
            <a:pPr marL="457200" indent="-457200">
              <a:buFont typeface="Arial" panose="020B0604020202020204" pitchFamily="34" charset="0"/>
              <a:buChar char="•"/>
            </a:pPr>
            <a:r>
              <a:rPr lang="en-US" sz="2800" b="1" dirty="0"/>
              <a:t>Psychomotor function is most affected during acute intoxication</a:t>
            </a:r>
            <a:r>
              <a:rPr lang="en-US" sz="2800" dirty="0"/>
              <a:t>, with some evidence for persistence in chronic users and after cessation of use. </a:t>
            </a:r>
          </a:p>
          <a:p>
            <a:pPr marL="457200" indent="-457200">
              <a:buFont typeface="Arial" panose="020B0604020202020204" pitchFamily="34" charset="0"/>
              <a:buChar char="•"/>
            </a:pPr>
            <a:r>
              <a:rPr lang="en-US" sz="2800" b="1" dirty="0"/>
              <a:t>Impaired verbal memory, attention, and some executive functions may persist </a:t>
            </a:r>
            <a:r>
              <a:rPr lang="en-US" sz="2800" dirty="0"/>
              <a:t>after prolonged abstinence, </a:t>
            </a:r>
          </a:p>
          <a:p>
            <a:pPr marL="457200" indent="-457200">
              <a:buFont typeface="Arial" panose="020B0604020202020204" pitchFamily="34" charset="0"/>
              <a:buChar char="•"/>
            </a:pPr>
            <a:r>
              <a:rPr lang="en-US" sz="2800" dirty="0"/>
              <a:t>But persistence or recovery across all cognitive domains remains under researched.</a:t>
            </a:r>
          </a:p>
          <a:p>
            <a:pPr marL="0" indent="0" algn="ctr">
              <a:buNone/>
            </a:pPr>
            <a:r>
              <a:rPr lang="en-US" sz="2800" dirty="0"/>
              <a:t>Broyd, van Hell, Beale, et al., 2016</a:t>
            </a:r>
          </a:p>
        </p:txBody>
      </p:sp>
    </p:spTree>
    <p:extLst>
      <p:ext uri="{BB962C8B-B14F-4D97-AF65-F5344CB8AC3E}">
        <p14:creationId xmlns:p14="http://schemas.microsoft.com/office/powerpoint/2010/main" val="373512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0842" y="26815"/>
            <a:ext cx="11140909" cy="361540"/>
          </a:xfrm>
        </p:spPr>
        <p:txBody>
          <a:bodyPr/>
          <a:lstStyle/>
          <a:p>
            <a:pPr algn="ctr"/>
            <a:r>
              <a:rPr lang="en-US" b="1" dirty="0"/>
              <a:t>Cannabinoids Adversely Affect Human Cognition (2)</a:t>
            </a:r>
            <a:endParaRPr lang="en-US" dirty="0"/>
          </a:p>
        </p:txBody>
      </p:sp>
      <p:sp>
        <p:nvSpPr>
          <p:cNvPr id="3" name="Content Placeholder 2"/>
          <p:cNvSpPr>
            <a:spLocks noGrp="1"/>
          </p:cNvSpPr>
          <p:nvPr>
            <p:ph idx="1"/>
          </p:nvPr>
        </p:nvSpPr>
        <p:spPr>
          <a:xfrm>
            <a:off x="168812" y="513347"/>
            <a:ext cx="11816862" cy="5493753"/>
          </a:xfrm>
        </p:spPr>
        <p:txBody>
          <a:bodyPr/>
          <a:lstStyle/>
          <a:p>
            <a:pPr marL="342900" indent="-342900">
              <a:buFont typeface="Arial" panose="020B0604020202020204" pitchFamily="34" charset="0"/>
              <a:buChar char="•"/>
            </a:pPr>
            <a:r>
              <a:rPr lang="en-US" sz="2400" dirty="0"/>
              <a:t>This study tested that </a:t>
            </a:r>
            <a:r>
              <a:rPr lang="en-US" sz="2400" b="1" dirty="0"/>
              <a:t>long-term cannabis use is associated with cognitive deficits and smaller hippocampal volume in midlife, important because midlife cognitive deficits and smaller hippocampal volume are risk factors for dementia. </a:t>
            </a:r>
          </a:p>
          <a:p>
            <a:pPr marL="342900" indent="-342900">
              <a:buFont typeface="Arial" panose="020B0604020202020204" pitchFamily="34" charset="0"/>
              <a:buChar char="•"/>
            </a:pPr>
            <a:r>
              <a:rPr lang="en-US" sz="2400" dirty="0"/>
              <a:t>Participants are members of a </a:t>
            </a:r>
            <a:r>
              <a:rPr lang="en-US" sz="2400" b="1" dirty="0"/>
              <a:t>representative cohort of 1,037 individuals born in Dunedin, New Zealand</a:t>
            </a:r>
            <a:r>
              <a:rPr lang="en-US" sz="2400" dirty="0"/>
              <a:t>, in 1972-1973 and followed to age 45, with 94% retention. </a:t>
            </a:r>
          </a:p>
          <a:p>
            <a:pPr marL="342900" indent="-342900">
              <a:buFont typeface="Arial" panose="020B0604020202020204" pitchFamily="34" charset="0"/>
              <a:buChar char="•"/>
            </a:pPr>
            <a:r>
              <a:rPr lang="en-US" sz="2400" dirty="0"/>
              <a:t>Cannabis use and dependence were assessed at ages 18, 21, 26, 32, 38, and 45. IQ was assessed at ages 7, 9, 11, and 45.  Specific neuropsychological functions and hippocampal volume were assessed at age 45. </a:t>
            </a:r>
          </a:p>
          <a:p>
            <a:pPr marL="342900" indent="-342900">
              <a:buFont typeface="Arial" panose="020B0604020202020204" pitchFamily="34" charset="0"/>
              <a:buChar char="•"/>
            </a:pPr>
            <a:r>
              <a:rPr lang="en-US" sz="2400" dirty="0"/>
              <a:t>Results</a:t>
            </a:r>
            <a:r>
              <a:rPr lang="en-US" sz="2400" b="1" dirty="0"/>
              <a:t>: Long-term cannabis users showed IQ decline from childhood to midlife (mean=-5.5 IQ points), poorer learning and processing speed relative to their childhood IQ, and informant-reported memory and attention problems (</a:t>
            </a:r>
            <a:r>
              <a:rPr lang="pt-BR" sz="2400" dirty="0"/>
              <a:t>Meier, Caspi, Knodt et al., 2022).</a:t>
            </a:r>
            <a:endParaRPr lang="en-US" sz="2400" dirty="0"/>
          </a:p>
          <a:p>
            <a:endParaRPr lang="en-US" dirty="0"/>
          </a:p>
          <a:p>
            <a:pPr marL="342900" indent="-342900">
              <a:buFont typeface="Arial" panose="020B0604020202020204" pitchFamily="34" charset="0"/>
              <a:buChar char="•"/>
            </a:pPr>
            <a:endParaRPr lang="en-US" dirty="0"/>
          </a:p>
          <a:p>
            <a:r>
              <a:rPr lang="en-US" dirty="0"/>
              <a:t>. </a:t>
            </a:r>
          </a:p>
        </p:txBody>
      </p:sp>
    </p:spTree>
    <p:extLst>
      <p:ext uri="{BB962C8B-B14F-4D97-AF65-F5344CB8AC3E}">
        <p14:creationId xmlns:p14="http://schemas.microsoft.com/office/powerpoint/2010/main" val="25211902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11274552" cy="628826"/>
          </a:xfrm>
        </p:spPr>
        <p:txBody>
          <a:bodyPr/>
          <a:lstStyle/>
          <a:p>
            <a:pPr algn="ctr"/>
            <a:r>
              <a:rPr lang="en-US" b="1" dirty="0"/>
              <a:t>Cannabinoids Adversely Affect Human Cognition (3)</a:t>
            </a:r>
            <a:endParaRPr lang="en-US" dirty="0"/>
          </a:p>
        </p:txBody>
      </p:sp>
      <p:sp>
        <p:nvSpPr>
          <p:cNvPr id="3" name="Content Placeholder 2"/>
          <p:cNvSpPr>
            <a:spLocks noGrp="1"/>
          </p:cNvSpPr>
          <p:nvPr>
            <p:ph idx="1"/>
          </p:nvPr>
        </p:nvSpPr>
        <p:spPr>
          <a:xfrm>
            <a:off x="281355" y="698461"/>
            <a:ext cx="11746522" cy="5607755"/>
          </a:xfrm>
        </p:spPr>
        <p:txBody>
          <a:bodyPr/>
          <a:lstStyle/>
          <a:p>
            <a:pPr marL="342900" indent="-342900">
              <a:buFont typeface="Arial" panose="020B0604020202020204" pitchFamily="34" charset="0"/>
              <a:buChar char="•"/>
            </a:pPr>
            <a:r>
              <a:rPr lang="en-US" sz="2400" b="1" dirty="0"/>
              <a:t>These deficits were specific to long-term cannabis users because they were either not present or were smaller among long-term tobacco users, long-term alcohol users, midlife recreational cannabis users, and cannabis quitters. </a:t>
            </a:r>
          </a:p>
          <a:p>
            <a:pPr marL="342900" indent="-342900">
              <a:buFont typeface="Arial" panose="020B0604020202020204" pitchFamily="34" charset="0"/>
              <a:buChar char="•"/>
            </a:pPr>
            <a:r>
              <a:rPr lang="en-US" sz="2400" b="1" dirty="0"/>
              <a:t>Cognitive deficits among long-term cannabis users could not be explained by persistent tobacco, alcohol, or other illicit drug use, childhood socioeconomic status, low childhood self-control, or family history of substance dependence</a:t>
            </a:r>
            <a:r>
              <a:rPr lang="en-US" sz="2400" dirty="0"/>
              <a:t>. </a:t>
            </a:r>
          </a:p>
          <a:p>
            <a:pPr marL="342900" indent="-342900">
              <a:buFont typeface="Arial" panose="020B0604020202020204" pitchFamily="34" charset="0"/>
              <a:buChar char="•"/>
            </a:pPr>
            <a:r>
              <a:rPr lang="en-US" sz="2400" dirty="0"/>
              <a:t>Long-term cannabis users showed smaller hippocampal volume, but smaller hippocampal volume did not statistically mediate cognitive deficits. </a:t>
            </a:r>
          </a:p>
          <a:p>
            <a:pPr marL="342900" indent="-342900">
              <a:buFont typeface="Arial" panose="020B0604020202020204" pitchFamily="34" charset="0"/>
              <a:buChar char="•"/>
            </a:pPr>
            <a:r>
              <a:rPr lang="en-US" sz="2400" b="1" dirty="0"/>
              <a:t>Conclusions: Long-term cannabis users showed cognitive deficits and smaller hippocampal volume in midlife. </a:t>
            </a:r>
          </a:p>
          <a:p>
            <a:pPr marL="342900" indent="-342900">
              <a:buFont typeface="Arial" panose="020B0604020202020204" pitchFamily="34" charset="0"/>
              <a:buChar char="•"/>
            </a:pPr>
            <a:r>
              <a:rPr lang="en-US" sz="2400" b="1" dirty="0"/>
              <a:t>Research is needed to ascertain whether long-term cannabis users show elevated rates of dementia in later life </a:t>
            </a:r>
            <a:r>
              <a:rPr lang="en-US" sz="2400" dirty="0"/>
              <a:t>(</a:t>
            </a:r>
            <a:r>
              <a:rPr lang="pt-BR" sz="2400" dirty="0"/>
              <a:t>Meier, Caspi, Knodt et al., 2022).</a:t>
            </a:r>
            <a:endParaRPr lang="en-US" sz="2400" dirty="0"/>
          </a:p>
          <a:p>
            <a:endParaRPr lang="en-US" dirty="0"/>
          </a:p>
          <a:p>
            <a:endParaRPr lang="en-US" dirty="0"/>
          </a:p>
        </p:txBody>
      </p:sp>
    </p:spTree>
    <p:extLst>
      <p:ext uri="{BB962C8B-B14F-4D97-AF65-F5344CB8AC3E}">
        <p14:creationId xmlns:p14="http://schemas.microsoft.com/office/powerpoint/2010/main" val="37010304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85444"/>
            <a:ext cx="10908791" cy="548640"/>
          </a:xfrm>
        </p:spPr>
        <p:txBody>
          <a:bodyPr/>
          <a:lstStyle/>
          <a:p>
            <a:pPr algn="ctr"/>
            <a:r>
              <a:rPr lang="en-US" dirty="0"/>
              <a:t>Cannabis and Driving</a:t>
            </a:r>
          </a:p>
        </p:txBody>
      </p:sp>
      <p:sp>
        <p:nvSpPr>
          <p:cNvPr id="3" name="Content Placeholder 2"/>
          <p:cNvSpPr>
            <a:spLocks noGrp="1"/>
          </p:cNvSpPr>
          <p:nvPr>
            <p:ph idx="1"/>
          </p:nvPr>
        </p:nvSpPr>
        <p:spPr>
          <a:xfrm>
            <a:off x="0" y="634084"/>
            <a:ext cx="12052092" cy="6223916"/>
          </a:xfrm>
        </p:spPr>
        <p:txBody>
          <a:bodyPr>
            <a:normAutofit fontScale="92500"/>
          </a:bodyPr>
          <a:lstStyle/>
          <a:p>
            <a:pPr marL="457200" indent="-457200">
              <a:buFont typeface="Arial" panose="020B0604020202020204" pitchFamily="34" charset="0"/>
              <a:buChar char="•"/>
            </a:pPr>
            <a:r>
              <a:rPr lang="en-US" sz="2800" b="1" dirty="0"/>
              <a:t>Cannabis is the most prevalent illicit drug identified in impaired drivers</a:t>
            </a:r>
            <a:r>
              <a:rPr lang="en-US" sz="2800" dirty="0"/>
              <a:t>. </a:t>
            </a:r>
          </a:p>
          <a:p>
            <a:pPr marL="457200" indent="-457200">
              <a:buFont typeface="Arial" panose="020B0604020202020204" pitchFamily="34" charset="0"/>
              <a:buChar char="•"/>
            </a:pPr>
            <a:r>
              <a:rPr lang="en-US" sz="2800" dirty="0"/>
              <a:t>Review the current literature on cannabis’ effects on driving, highlighting the epidemiologic and experimental data. </a:t>
            </a:r>
          </a:p>
          <a:p>
            <a:pPr marL="457200" indent="-457200">
              <a:buFont typeface="Arial" panose="020B0604020202020204" pitchFamily="34" charset="0"/>
              <a:buChar char="•"/>
            </a:pPr>
            <a:r>
              <a:rPr lang="en-US" sz="2800" dirty="0"/>
              <a:t>Epidemiologic data show that the </a:t>
            </a:r>
            <a:r>
              <a:rPr lang="en-US" sz="2800" b="1" dirty="0"/>
              <a:t>risk of involvement in a motor vehicle accident increases approximately 2-fold after cannabis smoking</a:t>
            </a:r>
            <a:r>
              <a:rPr lang="en-US" sz="2800" dirty="0"/>
              <a:t>. </a:t>
            </a:r>
          </a:p>
          <a:p>
            <a:pPr marL="457200" indent="-457200">
              <a:buFont typeface="Arial" panose="020B0604020202020204" pitchFamily="34" charset="0"/>
              <a:buChar char="•"/>
            </a:pPr>
            <a:r>
              <a:rPr lang="en-US" sz="2800" dirty="0"/>
              <a:t>The adjusted </a:t>
            </a:r>
            <a:r>
              <a:rPr lang="en-US" sz="2800" b="1" dirty="0"/>
              <a:t>risk of driver culpability also increases substantially, particularly with increased blood THC concentrations</a:t>
            </a:r>
            <a:r>
              <a:rPr lang="en-US" sz="2800" dirty="0"/>
              <a:t>. </a:t>
            </a:r>
          </a:p>
          <a:p>
            <a:pPr marL="457200" indent="-457200">
              <a:buFont typeface="Arial" panose="020B0604020202020204" pitchFamily="34" charset="0"/>
              <a:buChar char="•"/>
            </a:pPr>
            <a:r>
              <a:rPr lang="en-US" sz="2800" dirty="0"/>
              <a:t>Experimental data show that drivers attempt to compensate by driving more slowly after smoking cannabis, but control deteriorates with increasing task complexity. </a:t>
            </a:r>
          </a:p>
          <a:p>
            <a:pPr marL="0" indent="0" algn="ctr">
              <a:buNone/>
            </a:pPr>
            <a:r>
              <a:rPr lang="en-US" sz="2800" dirty="0"/>
              <a:t>Hartman and Huestis, 2013</a:t>
            </a:r>
          </a:p>
        </p:txBody>
      </p:sp>
      <p:sp>
        <p:nvSpPr>
          <p:cNvPr id="4" name="Slide Number Placeholder 3"/>
          <p:cNvSpPr>
            <a:spLocks noGrp="1"/>
          </p:cNvSpPr>
          <p:nvPr>
            <p:ph type="sldNum" sz="quarter" idx="12"/>
          </p:nvPr>
        </p:nvSpPr>
        <p:spPr/>
        <p:txBody>
          <a:bodyPr/>
          <a:lstStyle/>
          <a:p>
            <a:fld id="{4E46249D-581C-4C8F-83DD-B87371934A8D}" type="slidenum">
              <a:rPr lang="en-US" smtClean="0"/>
              <a:t>26</a:t>
            </a:fld>
            <a:endParaRPr lang="en-US" dirty="0"/>
          </a:p>
        </p:txBody>
      </p:sp>
    </p:spTree>
    <p:extLst>
      <p:ext uri="{BB962C8B-B14F-4D97-AF65-F5344CB8AC3E}">
        <p14:creationId xmlns:p14="http://schemas.microsoft.com/office/powerpoint/2010/main" val="2775484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85444"/>
            <a:ext cx="10908791" cy="548640"/>
          </a:xfrm>
        </p:spPr>
        <p:txBody>
          <a:bodyPr/>
          <a:lstStyle/>
          <a:p>
            <a:pPr algn="ctr"/>
            <a:r>
              <a:rPr lang="en-US" dirty="0"/>
              <a:t>Cannabis and Driving (2)</a:t>
            </a:r>
          </a:p>
        </p:txBody>
      </p:sp>
      <p:sp>
        <p:nvSpPr>
          <p:cNvPr id="3" name="Content Placeholder 2"/>
          <p:cNvSpPr>
            <a:spLocks noGrp="1"/>
          </p:cNvSpPr>
          <p:nvPr>
            <p:ph idx="1"/>
          </p:nvPr>
        </p:nvSpPr>
        <p:spPr>
          <a:xfrm>
            <a:off x="0" y="764499"/>
            <a:ext cx="12052092" cy="5936104"/>
          </a:xfrm>
        </p:spPr>
        <p:txBody>
          <a:bodyPr>
            <a:normAutofit lnSpcReduction="10000"/>
          </a:bodyPr>
          <a:lstStyle/>
          <a:p>
            <a:pPr marL="457200" indent="-457200">
              <a:buFont typeface="Arial" panose="020B0604020202020204" pitchFamily="34" charset="0"/>
              <a:buChar char="•"/>
            </a:pPr>
            <a:r>
              <a:rPr lang="en-US" sz="2800" dirty="0"/>
              <a:t>Cannabis smoking increases lane weaving and impaired cognitive function. </a:t>
            </a:r>
          </a:p>
          <a:p>
            <a:pPr marL="457200" indent="-457200">
              <a:buFont typeface="Arial" panose="020B0604020202020204" pitchFamily="34" charset="0"/>
              <a:buChar char="•"/>
            </a:pPr>
            <a:r>
              <a:rPr lang="en-US" sz="2800" dirty="0"/>
              <a:t>Critical-tracking tests, reaction times, divided-attention tasks, and lane-position variability all show cannabis-induced impairment. </a:t>
            </a:r>
          </a:p>
          <a:p>
            <a:pPr marL="457200" indent="-457200">
              <a:buFont typeface="Arial" panose="020B0604020202020204" pitchFamily="34" charset="0"/>
              <a:buChar char="•"/>
            </a:pPr>
            <a:r>
              <a:rPr lang="en-US" sz="2800" b="1" dirty="0"/>
              <a:t>Despite purported tolerance in frequent smokers, complex tasks still show impairment</a:t>
            </a:r>
            <a:r>
              <a:rPr lang="en-US" sz="2800" dirty="0"/>
              <a:t>. </a:t>
            </a:r>
          </a:p>
          <a:p>
            <a:pPr marL="457200" indent="-457200">
              <a:buFont typeface="Arial" panose="020B0604020202020204" pitchFamily="34" charset="0"/>
              <a:buChar char="•"/>
            </a:pPr>
            <a:r>
              <a:rPr lang="en-US" sz="2800" b="1" dirty="0"/>
              <a:t>Combining cannabis with alcohol enhances impairment, especially lane weaving. </a:t>
            </a:r>
          </a:p>
          <a:p>
            <a:pPr marL="457200" indent="-457200">
              <a:buFont typeface="Arial" panose="020B0604020202020204" pitchFamily="34" charset="0"/>
              <a:buChar char="•"/>
            </a:pPr>
            <a:r>
              <a:rPr lang="en-US" sz="2800" dirty="0"/>
              <a:t>Summary: evidence suggests </a:t>
            </a:r>
            <a:r>
              <a:rPr lang="en-US" sz="2800" b="1" dirty="0"/>
              <a:t>recent smoking and/or blood THC concentrations 2–5 ng/mL are associated with substantial driving impairment, particularly in occasional smokers</a:t>
            </a:r>
            <a:r>
              <a:rPr lang="en-US" sz="2800" dirty="0"/>
              <a:t>. </a:t>
            </a:r>
          </a:p>
          <a:p>
            <a:pPr marL="0" indent="0" algn="ctr">
              <a:buNone/>
            </a:pPr>
            <a:r>
              <a:rPr lang="en-US" sz="2800" dirty="0"/>
              <a:t>Hartman and Huestis, 2013</a:t>
            </a:r>
          </a:p>
        </p:txBody>
      </p:sp>
      <p:sp>
        <p:nvSpPr>
          <p:cNvPr id="4" name="Slide Number Placeholder 3"/>
          <p:cNvSpPr>
            <a:spLocks noGrp="1"/>
          </p:cNvSpPr>
          <p:nvPr>
            <p:ph type="sldNum" sz="quarter" idx="12"/>
          </p:nvPr>
        </p:nvSpPr>
        <p:spPr/>
        <p:txBody>
          <a:bodyPr/>
          <a:lstStyle/>
          <a:p>
            <a:fld id="{4E46249D-581C-4C8F-83DD-B87371934A8D}" type="slidenum">
              <a:rPr lang="en-US" smtClean="0"/>
              <a:t>27</a:t>
            </a:fld>
            <a:endParaRPr lang="en-US" dirty="0"/>
          </a:p>
        </p:txBody>
      </p:sp>
    </p:spTree>
    <p:extLst>
      <p:ext uri="{BB962C8B-B14F-4D97-AF65-F5344CB8AC3E}">
        <p14:creationId xmlns:p14="http://schemas.microsoft.com/office/powerpoint/2010/main" val="34152180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91440"/>
            <a:ext cx="10908791" cy="548640"/>
          </a:xfrm>
        </p:spPr>
        <p:txBody>
          <a:bodyPr/>
          <a:lstStyle/>
          <a:p>
            <a:pPr algn="ctr"/>
            <a:r>
              <a:rPr lang="en-US" dirty="0"/>
              <a:t>Cannabis and Driving (3)</a:t>
            </a:r>
          </a:p>
        </p:txBody>
      </p:sp>
      <p:sp>
        <p:nvSpPr>
          <p:cNvPr id="3" name="Content Placeholder 2"/>
          <p:cNvSpPr>
            <a:spLocks noGrp="1"/>
          </p:cNvSpPr>
          <p:nvPr>
            <p:ph idx="1"/>
          </p:nvPr>
        </p:nvSpPr>
        <p:spPr>
          <a:xfrm>
            <a:off x="269824" y="959370"/>
            <a:ext cx="11707318" cy="5156617"/>
          </a:xfrm>
        </p:spPr>
        <p:txBody>
          <a:bodyPr>
            <a:normAutofit/>
          </a:bodyPr>
          <a:lstStyle/>
          <a:p>
            <a:pPr marL="342900" indent="-342900">
              <a:buFont typeface="Arial" panose="020B0604020202020204" pitchFamily="34" charset="0"/>
              <a:buChar char="•"/>
            </a:pPr>
            <a:r>
              <a:rPr lang="en-US" sz="2400" dirty="0"/>
              <a:t>Most driving-related cognitive skills would recover (Hedges' g=-0.25) within 5 hours and almost all within 7 hours of inhaling 20 mg of Δ</a:t>
            </a:r>
            <a:r>
              <a:rPr lang="en-US" sz="2400" baseline="30000" dirty="0"/>
              <a:t>9</a:t>
            </a:r>
            <a:r>
              <a:rPr lang="en-US" sz="2400" dirty="0"/>
              <a:t>-THC; </a:t>
            </a:r>
          </a:p>
          <a:p>
            <a:pPr marL="342900" indent="-342900">
              <a:buFont typeface="Arial" panose="020B0604020202020204" pitchFamily="34" charset="0"/>
              <a:buChar char="•"/>
            </a:pPr>
            <a:r>
              <a:rPr lang="en-US" sz="2400" dirty="0"/>
              <a:t>Oral Δ</a:t>
            </a:r>
            <a:r>
              <a:rPr lang="en-US" sz="2400" baseline="30000" dirty="0"/>
              <a:t>9</a:t>
            </a:r>
            <a:r>
              <a:rPr lang="en-US" sz="2400" dirty="0"/>
              <a:t>-THC-induced impairment may take longer to subside. </a:t>
            </a:r>
          </a:p>
          <a:p>
            <a:pPr marL="342900" indent="-342900">
              <a:buFont typeface="Arial" panose="020B0604020202020204" pitchFamily="34" charset="0"/>
              <a:buChar char="•"/>
            </a:pPr>
            <a:r>
              <a:rPr lang="en-US" sz="2400" b="1" dirty="0"/>
              <a:t>These results suggest individuals should wait at least 5 hours following inhaled cannabis use before performing safety-sensitive tasks</a:t>
            </a:r>
            <a:r>
              <a:rPr lang="en-US" sz="2400" dirty="0"/>
              <a:t> (McCartney, Arkell, Irwin et al., 2021).</a:t>
            </a:r>
          </a:p>
          <a:p>
            <a:pPr marL="342900" indent="-342900">
              <a:buFont typeface="Arial" panose="020B0604020202020204" pitchFamily="34" charset="0"/>
              <a:buChar char="•"/>
            </a:pPr>
            <a:r>
              <a:rPr lang="en-US" sz="2400" b="1" dirty="0"/>
              <a:t>Medical cannabis use does not currently exempt patients from mobile (roadside) drug testing and associated legal sanctions </a:t>
            </a:r>
            <a:r>
              <a:rPr lang="en-US" sz="2400" dirty="0"/>
              <a:t>(Arkell, McCartney, McGregor, 2021).</a:t>
            </a:r>
          </a:p>
        </p:txBody>
      </p:sp>
      <p:sp>
        <p:nvSpPr>
          <p:cNvPr id="4" name="Slide Number Placeholder 3"/>
          <p:cNvSpPr>
            <a:spLocks noGrp="1"/>
          </p:cNvSpPr>
          <p:nvPr>
            <p:ph type="sldNum" sz="quarter" idx="12"/>
          </p:nvPr>
        </p:nvSpPr>
        <p:spPr/>
        <p:txBody>
          <a:bodyPr/>
          <a:lstStyle/>
          <a:p>
            <a:fld id="{4E46249D-581C-4C8F-83DD-B87371934A8D}" type="slidenum">
              <a:rPr lang="en-US" smtClean="0"/>
              <a:t>28</a:t>
            </a:fld>
            <a:endParaRPr lang="en-US" dirty="0"/>
          </a:p>
        </p:txBody>
      </p:sp>
    </p:spTree>
    <p:extLst>
      <p:ext uri="{BB962C8B-B14F-4D97-AF65-F5344CB8AC3E}">
        <p14:creationId xmlns:p14="http://schemas.microsoft.com/office/powerpoint/2010/main" val="41876496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91440"/>
            <a:ext cx="10908791" cy="548640"/>
          </a:xfrm>
        </p:spPr>
        <p:txBody>
          <a:bodyPr>
            <a:normAutofit/>
          </a:bodyPr>
          <a:lstStyle/>
          <a:p>
            <a:pPr algn="ctr"/>
            <a:r>
              <a:rPr lang="en-US" b="1" dirty="0"/>
              <a:t>Cannabis Use and Risk of Psychosis</a:t>
            </a:r>
            <a:endParaRPr lang="en-US" dirty="0"/>
          </a:p>
        </p:txBody>
      </p:sp>
      <p:sp>
        <p:nvSpPr>
          <p:cNvPr id="3" name="Content Placeholder 2"/>
          <p:cNvSpPr>
            <a:spLocks noGrp="1"/>
          </p:cNvSpPr>
          <p:nvPr>
            <p:ph idx="1"/>
          </p:nvPr>
        </p:nvSpPr>
        <p:spPr>
          <a:xfrm>
            <a:off x="0" y="640080"/>
            <a:ext cx="12037102" cy="6105493"/>
          </a:xfrm>
        </p:spPr>
        <p:txBody>
          <a:bodyPr>
            <a:normAutofit/>
          </a:bodyPr>
          <a:lstStyle/>
          <a:p>
            <a:pPr marL="342900" indent="-342900">
              <a:buFont typeface="Arial" panose="020B0604020202020204" pitchFamily="34" charset="0"/>
              <a:buChar char="•"/>
            </a:pPr>
            <a:r>
              <a:rPr lang="en-US" sz="2800" b="1" dirty="0"/>
              <a:t>Cannabis use has been reported to induce long-lasting psychotic disorders </a:t>
            </a:r>
            <a:r>
              <a:rPr lang="en-US" sz="2800" dirty="0"/>
              <a:t>and a dose-response relationship has been observed. </a:t>
            </a:r>
          </a:p>
          <a:p>
            <a:pPr marL="342900" indent="-342900">
              <a:buFont typeface="Arial" panose="020B0604020202020204" pitchFamily="34" charset="0"/>
              <a:buChar char="•"/>
            </a:pPr>
            <a:r>
              <a:rPr lang="en-US" sz="2800" dirty="0"/>
              <a:t>Systematic review of studies that investigate the association between the degree of cannabis consumption and psychosis and a meta-analysis to quantify the magnitude of effect. </a:t>
            </a:r>
          </a:p>
          <a:p>
            <a:pPr marL="342900" indent="-342900">
              <a:buFont typeface="Arial" panose="020B0604020202020204" pitchFamily="34" charset="0"/>
              <a:buChar char="•"/>
            </a:pPr>
            <a:r>
              <a:rPr lang="en-US" sz="2800" b="1" dirty="0"/>
              <a:t>18 studies fulfilled inclusion criteria for the systematic review and 10 were used in the meta-analysis, enrolling a total of 66, 816 individuals. </a:t>
            </a:r>
          </a:p>
          <a:p>
            <a:pPr marL="342900" indent="-342900">
              <a:buFont typeface="Arial" panose="020B0604020202020204" pitchFamily="34" charset="0"/>
              <a:buChar char="•"/>
            </a:pPr>
            <a:r>
              <a:rPr lang="en-US" sz="2800" b="1" dirty="0"/>
              <a:t>Higher levels of cannabis use were associated with increased risk for psychosis in all the included studies. </a:t>
            </a:r>
          </a:p>
          <a:p>
            <a:pPr marL="0" indent="0" algn="ctr">
              <a:buNone/>
            </a:pPr>
            <a:r>
              <a:rPr lang="it-IT" dirty="0"/>
              <a:t>Marconi, Di Forti, Lewis et al., 2016</a:t>
            </a:r>
            <a:endParaRPr lang="en-US" dirty="0"/>
          </a:p>
        </p:txBody>
      </p:sp>
    </p:spTree>
    <p:extLst>
      <p:ext uri="{BB962C8B-B14F-4D97-AF65-F5344CB8AC3E}">
        <p14:creationId xmlns:p14="http://schemas.microsoft.com/office/powerpoint/2010/main" val="9015527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Support for Legal Cannabis May Have Peaked at Record High of 68%</a:t>
            </a:r>
            <a:br>
              <a:rPr lang="en-US" dirty="0"/>
            </a:br>
            <a:r>
              <a:rPr lang="en-US" dirty="0"/>
              <a:t>On November, 2021</a:t>
            </a:r>
            <a:br>
              <a:rPr lang="en-US" dirty="0"/>
            </a:br>
            <a:br>
              <a:rPr lang="en-US" dirty="0"/>
            </a:br>
            <a:br>
              <a:rPr lang="en-US" dirty="0"/>
            </a:br>
            <a:endParaRPr lang="en-US" dirty="0"/>
          </a:p>
        </p:txBody>
      </p:sp>
      <p:sp>
        <p:nvSpPr>
          <p:cNvPr id="3" name="Content Placeholder 2"/>
          <p:cNvSpPr>
            <a:spLocks noGrp="1"/>
          </p:cNvSpPr>
          <p:nvPr>
            <p:ph sz="quarter" idx="11"/>
          </p:nvPr>
        </p:nvSpPr>
        <p:spPr>
          <a:xfrm>
            <a:off x="184483" y="1691640"/>
            <a:ext cx="5529263" cy="4315460"/>
          </a:xfrm>
        </p:spPr>
        <p:txBody>
          <a:bodyPr/>
          <a:lstStyle/>
          <a:p>
            <a:pPr marL="342900" indent="-342900">
              <a:buFont typeface="Arial" panose="020B0604020202020204" pitchFamily="34" charset="0"/>
              <a:buChar char="•"/>
            </a:pPr>
            <a:r>
              <a:rPr lang="en-US" b="1" dirty="0"/>
              <a:t>Gallup has documented increasing support for legalizing cannabis over more than five decades</a:t>
            </a:r>
            <a:r>
              <a:rPr lang="en-US" dirty="0"/>
              <a:t>, </a:t>
            </a:r>
          </a:p>
          <a:p>
            <a:pPr marL="342900" indent="-342900">
              <a:buFont typeface="Arial" panose="020B0604020202020204" pitchFamily="34" charset="0"/>
              <a:buChar char="•"/>
            </a:pPr>
            <a:r>
              <a:rPr lang="en-US" dirty="0"/>
              <a:t>Sharp increases occurred in the 2000s and 2010s. </a:t>
            </a:r>
          </a:p>
          <a:p>
            <a:pPr marL="342900" indent="-342900">
              <a:buFont typeface="Arial" panose="020B0604020202020204" pitchFamily="34" charset="0"/>
              <a:buChar char="•"/>
            </a:pPr>
            <a:r>
              <a:rPr lang="en-US" dirty="0"/>
              <a:t>In 2013, a majority of Americans, for the first time, supported legalization.</a:t>
            </a:r>
          </a:p>
          <a:p>
            <a:pPr marL="342900" indent="-342900">
              <a:buFont typeface="Arial" panose="020B0604020202020204" pitchFamily="34" charset="0"/>
              <a:buChar char="•"/>
            </a:pPr>
            <a:r>
              <a:rPr lang="en-US" b="1" dirty="0"/>
              <a:t>Solid majorities of U.S. adults in all major subgroups by gender, age, income and education support legalizing cannabis.</a:t>
            </a:r>
            <a:endParaRPr lang="en-US" dirty="0"/>
          </a:p>
        </p:txBody>
      </p:sp>
      <p:sp>
        <p:nvSpPr>
          <p:cNvPr id="5" name="Text Placeholder 4"/>
          <p:cNvSpPr>
            <a:spLocks noGrp="1"/>
          </p:cNvSpPr>
          <p:nvPr>
            <p:ph type="body" sz="half" idx="2"/>
          </p:nvPr>
        </p:nvSpPr>
        <p:spPr/>
        <p:txBody>
          <a:bodyPr/>
          <a:lstStyle/>
          <a:p>
            <a:r>
              <a:rPr lang="en-US" sz="1800" dirty="0">
                <a:solidFill>
                  <a:srgbClr val="00B0F0"/>
                </a:solidFill>
              </a:rPr>
              <a:t>https://news.gallup.com/poll/356939/support-legal-marijuana-holds-record-high.aspx</a:t>
            </a:r>
          </a:p>
          <a:p>
            <a:endParaRPr lang="en-US" dirty="0"/>
          </a:p>
        </p:txBody>
      </p:sp>
      <p:pic>
        <p:nvPicPr>
          <p:cNvPr id="6" name="Picture 2" descr="https://content.gallup.com/origin/gallupinc/GallupSpaces/Production/Cms/POLL/jtiyq89cqucedlbn0lhb5g.png"/>
          <p:cNvPicPr>
            <a:picLocks noGrp="1" noChangeAspect="1" noChangeArrowheads="1"/>
          </p:cNvPicPr>
          <p:nvPr>
            <p:ph sz="quarter" idx="12"/>
          </p:nvPr>
        </p:nvPicPr>
        <p:blipFill>
          <a:blip r:embed="rId2">
            <a:extLst>
              <a:ext uri="{28A0092B-C50C-407E-A947-70E740481C1C}">
                <a14:useLocalDpi xmlns:a14="http://schemas.microsoft.com/office/drawing/2010/main" val="0"/>
              </a:ext>
            </a:extLst>
          </a:blip>
          <a:srcRect/>
          <a:stretch>
            <a:fillRect/>
          </a:stretch>
        </p:blipFill>
        <p:spPr bwMode="auto">
          <a:xfrm>
            <a:off x="6094476" y="1952841"/>
            <a:ext cx="5976937" cy="3586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37752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91440"/>
            <a:ext cx="10908791" cy="548640"/>
          </a:xfrm>
        </p:spPr>
        <p:txBody>
          <a:bodyPr>
            <a:normAutofit/>
          </a:bodyPr>
          <a:lstStyle/>
          <a:p>
            <a:pPr algn="ctr"/>
            <a:r>
              <a:rPr lang="en-US" b="1" dirty="0"/>
              <a:t>Cannabis Use and Risk of Psychosis (2)</a:t>
            </a:r>
            <a:endParaRPr lang="en-US" dirty="0"/>
          </a:p>
        </p:txBody>
      </p:sp>
      <p:sp>
        <p:nvSpPr>
          <p:cNvPr id="3" name="Content Placeholder 2"/>
          <p:cNvSpPr>
            <a:spLocks noGrp="1"/>
          </p:cNvSpPr>
          <p:nvPr>
            <p:ph idx="1"/>
          </p:nvPr>
        </p:nvSpPr>
        <p:spPr>
          <a:xfrm>
            <a:off x="0" y="1074795"/>
            <a:ext cx="12037102" cy="5475907"/>
          </a:xfrm>
        </p:spPr>
        <p:txBody>
          <a:bodyPr>
            <a:normAutofit/>
          </a:bodyPr>
          <a:lstStyle/>
          <a:p>
            <a:pPr marL="457200" indent="-457200">
              <a:buFont typeface="Arial" panose="020B0604020202020204" pitchFamily="34" charset="0"/>
              <a:buChar char="•"/>
            </a:pPr>
            <a:r>
              <a:rPr lang="en-US" sz="2800" dirty="0"/>
              <a:t>A logistic regression model gave an </a:t>
            </a:r>
            <a:r>
              <a:rPr lang="en-US" sz="2800" b="1" dirty="0"/>
              <a:t>OR of 3.90 </a:t>
            </a:r>
            <a:r>
              <a:rPr lang="en-US" sz="2800" dirty="0"/>
              <a:t>(95% CI 2.84 to 5.34) </a:t>
            </a:r>
            <a:r>
              <a:rPr lang="en-US" sz="2800" b="1" dirty="0"/>
              <a:t>for the risk of schizophrenia and other psychosis-related outcomes among the heaviest cannabis users compared to the nonusers. </a:t>
            </a:r>
          </a:p>
          <a:p>
            <a:pPr marL="457200" indent="-457200">
              <a:buFont typeface="Arial" panose="020B0604020202020204" pitchFamily="34" charset="0"/>
              <a:buChar char="•"/>
            </a:pPr>
            <a:r>
              <a:rPr lang="en-US" sz="2800" b="1" dirty="0"/>
              <a:t>Current evidence shows that high levels of cannabis use increase the risk of psychotic outcomes and confirms a dose-response relationship between the level of use and the risk for psychosis</a:t>
            </a:r>
            <a:r>
              <a:rPr lang="en-US" sz="2800" dirty="0"/>
              <a:t>. </a:t>
            </a:r>
          </a:p>
          <a:p>
            <a:pPr marL="457200" indent="-457200">
              <a:buFont typeface="Arial" panose="020B0604020202020204" pitchFamily="34" charset="0"/>
              <a:buChar char="•"/>
            </a:pPr>
            <a:r>
              <a:rPr lang="en-US" sz="2800" dirty="0"/>
              <a:t>Although a causal link cannot be unequivocally established, there is </a:t>
            </a:r>
            <a:r>
              <a:rPr lang="en-US" sz="2800" b="1" dirty="0"/>
              <a:t>sufficient evidence to justify harm reduction prevention programs. </a:t>
            </a:r>
          </a:p>
          <a:p>
            <a:pPr marL="0" indent="0" algn="ctr">
              <a:buNone/>
            </a:pPr>
            <a:r>
              <a:rPr lang="it-IT" sz="2800" dirty="0"/>
              <a:t>Marconi, Di Forti, Lewis et al., 2016</a:t>
            </a:r>
            <a:endParaRPr lang="en-US" sz="2800" dirty="0"/>
          </a:p>
        </p:txBody>
      </p:sp>
    </p:spTree>
    <p:extLst>
      <p:ext uri="{BB962C8B-B14F-4D97-AF65-F5344CB8AC3E}">
        <p14:creationId xmlns:p14="http://schemas.microsoft.com/office/powerpoint/2010/main" val="14753947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41972"/>
            <a:ext cx="10908791" cy="548640"/>
          </a:xfrm>
        </p:spPr>
        <p:txBody>
          <a:bodyPr/>
          <a:lstStyle/>
          <a:p>
            <a:pPr algn="ctr"/>
            <a:r>
              <a:rPr lang="en-US" dirty="0"/>
              <a:t>Human Adolescent Brain Development Is </a:t>
            </a:r>
            <a:br>
              <a:rPr lang="en-US" dirty="0"/>
            </a:br>
            <a:r>
              <a:rPr lang="en-US" dirty="0"/>
              <a:t>Crucial To Adult Functioning</a:t>
            </a:r>
          </a:p>
        </p:txBody>
      </p:sp>
      <p:sp>
        <p:nvSpPr>
          <p:cNvPr id="3" name="Content Placeholder 2"/>
          <p:cNvSpPr>
            <a:spLocks noGrp="1"/>
          </p:cNvSpPr>
          <p:nvPr>
            <p:ph idx="1"/>
          </p:nvPr>
        </p:nvSpPr>
        <p:spPr>
          <a:xfrm>
            <a:off x="640080" y="689811"/>
            <a:ext cx="11487752" cy="6181285"/>
          </a:xfrm>
        </p:spPr>
        <p:txBody>
          <a:bodyPr>
            <a:noAutofit/>
          </a:bodyPr>
          <a:lstStyle/>
          <a:p>
            <a:pPr marL="342900" indent="-342900">
              <a:buFont typeface="Arial" panose="020B0604020202020204" pitchFamily="34" charset="0"/>
              <a:buChar char="•"/>
            </a:pPr>
            <a:r>
              <a:rPr lang="en-US" sz="2400" b="1" dirty="0"/>
              <a:t>The brain’s physical growth occurs before adolescence </a:t>
            </a:r>
            <a:r>
              <a:rPr lang="en-US" sz="2400" dirty="0"/>
              <a:t>but it undergoes extensive remodeling in the adolescent years. </a:t>
            </a:r>
          </a:p>
          <a:p>
            <a:pPr marL="342900" indent="-342900">
              <a:buFont typeface="Arial" panose="020B0604020202020204" pitchFamily="34" charset="0"/>
              <a:buChar char="•"/>
            </a:pPr>
            <a:r>
              <a:rPr lang="en-US" sz="2400" dirty="0"/>
              <a:t>Brain imaging done since the 1990s has shown that </a:t>
            </a:r>
            <a:r>
              <a:rPr lang="en-US" sz="2400" b="1" dirty="0"/>
              <a:t>brain development progresses in a wave from areas at the back that look after older and more basic functions, such as vision, movement and processing, to the evolutionarily newer and more complex thinking areas at the front of the brain. </a:t>
            </a:r>
          </a:p>
          <a:p>
            <a:pPr marL="342900" indent="-342900">
              <a:buFont typeface="Arial" panose="020B0604020202020204" pitchFamily="34" charset="0"/>
              <a:buChar char="•"/>
            </a:pPr>
            <a:r>
              <a:rPr lang="en-US" sz="2400" b="1" dirty="0"/>
              <a:t>Children’s brains process information in a less efficient, location-specific way. </a:t>
            </a:r>
          </a:p>
          <a:p>
            <a:pPr marL="342900" indent="-342900">
              <a:buFont typeface="Arial" panose="020B0604020202020204" pitchFamily="34" charset="0"/>
              <a:buChar char="•"/>
            </a:pPr>
            <a:r>
              <a:rPr lang="en-US" sz="2400" dirty="0"/>
              <a:t>One of the key differences that come with adolescent maturation, is that processing occurs in a more efficient, connected, and integrated way. </a:t>
            </a:r>
          </a:p>
          <a:p>
            <a:pPr marL="342900" indent="-342900">
              <a:buFont typeface="Arial" panose="020B0604020202020204" pitchFamily="34" charset="0"/>
              <a:buChar char="•"/>
            </a:pPr>
            <a:r>
              <a:rPr lang="en-US" sz="2400" b="1" dirty="0"/>
              <a:t>Cognitive processing becomes more distributed and long range connections increase</a:t>
            </a:r>
            <a:r>
              <a:rPr lang="en-US" sz="2400" dirty="0"/>
              <a:t>, allowing integration between distant brain regions. This leads to increased processing resources and greater efficiency (</a:t>
            </a:r>
            <a:r>
              <a:rPr lang="en-US" dirty="0"/>
              <a:t>Griffin, 2017). </a:t>
            </a:r>
          </a:p>
          <a:p>
            <a:pPr algn="ctr"/>
            <a:endParaRPr lang="en-US" dirty="0">
              <a:solidFill>
                <a:srgbClr val="00B0F0"/>
              </a:solidFill>
            </a:endParaRPr>
          </a:p>
          <a:p>
            <a:endParaRPr lang="en-US" dirty="0"/>
          </a:p>
        </p:txBody>
      </p:sp>
      <p:sp>
        <p:nvSpPr>
          <p:cNvPr id="4" name="Slide Number Placeholder 3"/>
          <p:cNvSpPr>
            <a:spLocks noGrp="1"/>
          </p:cNvSpPr>
          <p:nvPr>
            <p:ph type="sldNum" sz="quarter" idx="12"/>
          </p:nvPr>
        </p:nvSpPr>
        <p:spPr/>
        <p:txBody>
          <a:bodyPr/>
          <a:lstStyle/>
          <a:p>
            <a:fld id="{4E46249D-581C-4C8F-83DD-B87371934A8D}" type="slidenum">
              <a:rPr lang="en-US" smtClean="0"/>
              <a:t>31</a:t>
            </a:fld>
            <a:endParaRPr lang="en-US" dirty="0"/>
          </a:p>
        </p:txBody>
      </p:sp>
    </p:spTree>
    <p:extLst>
      <p:ext uri="{BB962C8B-B14F-4D97-AF65-F5344CB8AC3E}">
        <p14:creationId xmlns:p14="http://schemas.microsoft.com/office/powerpoint/2010/main" val="19971450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26982"/>
            <a:ext cx="10908791" cy="548640"/>
          </a:xfrm>
        </p:spPr>
        <p:txBody>
          <a:bodyPr/>
          <a:lstStyle/>
          <a:p>
            <a:pPr algn="ctr"/>
            <a:r>
              <a:rPr lang="en-US" dirty="0"/>
              <a:t>Human Adolescent Brain Development Is Crucial To Adult Functioning (2)</a:t>
            </a:r>
          </a:p>
        </p:txBody>
      </p:sp>
      <p:sp>
        <p:nvSpPr>
          <p:cNvPr id="3" name="Content Placeholder 2"/>
          <p:cNvSpPr>
            <a:spLocks noGrp="1"/>
          </p:cNvSpPr>
          <p:nvPr>
            <p:ph idx="1"/>
          </p:nvPr>
        </p:nvSpPr>
        <p:spPr>
          <a:xfrm>
            <a:off x="497304" y="810127"/>
            <a:ext cx="11694695" cy="6384758"/>
          </a:xfrm>
        </p:spPr>
        <p:txBody>
          <a:bodyPr>
            <a:noAutofit/>
          </a:bodyPr>
          <a:lstStyle/>
          <a:p>
            <a:pPr marL="342900" indent="-342900">
              <a:buFont typeface="Arial" panose="020B0604020202020204" pitchFamily="34" charset="0"/>
              <a:buChar char="•"/>
            </a:pPr>
            <a:r>
              <a:rPr lang="en-US" sz="2400" dirty="0"/>
              <a:t>The brain’s wiring changes. The brain’s axons gradually become more insulated by myelin. Myelin changes are dramatic during adolescence, with </a:t>
            </a:r>
            <a:r>
              <a:rPr lang="en-US" sz="2400" b="1" dirty="0"/>
              <a:t>the amount of myelin doubling in some brain regions</a:t>
            </a:r>
            <a:r>
              <a:rPr lang="en-US" sz="2400" dirty="0"/>
              <a:t>.  </a:t>
            </a:r>
          </a:p>
          <a:p>
            <a:pPr marL="342900" indent="-342900">
              <a:buFont typeface="Arial" panose="020B0604020202020204" pitchFamily="34" charset="0"/>
              <a:buChar char="•"/>
            </a:pPr>
            <a:r>
              <a:rPr lang="en-US" sz="2400" b="1" dirty="0"/>
              <a:t>Less used </a:t>
            </a:r>
            <a:r>
              <a:rPr lang="en-US" sz="2400" b="1" dirty="0" err="1"/>
              <a:t>synapes</a:t>
            </a:r>
            <a:r>
              <a:rPr lang="en-US" sz="2400" b="1" dirty="0"/>
              <a:t>, gradually diminish, </a:t>
            </a:r>
            <a:r>
              <a:rPr lang="en-US" sz="2400" dirty="0"/>
              <a:t>known as </a:t>
            </a:r>
            <a:r>
              <a:rPr lang="en-US" sz="2400" b="1" dirty="0"/>
              <a:t>synaptic pruning </a:t>
            </a:r>
            <a:r>
              <a:rPr lang="en-US" sz="2400" dirty="0"/>
              <a:t>and it causes the brain’s cortex to become thinner and more efficient. </a:t>
            </a:r>
          </a:p>
          <a:p>
            <a:pPr marL="342900" indent="-342900">
              <a:buFont typeface="Arial" panose="020B0604020202020204" pitchFamily="34" charset="0"/>
              <a:buChar char="•"/>
            </a:pPr>
            <a:r>
              <a:rPr lang="en-US" sz="2400" b="1" dirty="0"/>
              <a:t>Stronger links develop between the prefrontal cortex and other brain regions</a:t>
            </a:r>
            <a:r>
              <a:rPr lang="en-US" sz="2400" dirty="0"/>
              <a:t>. For example, connections between the hippocampus and frontal areas are strengthened, enabling adolescents to become gradually better at integrating memory and experience into their decision making. </a:t>
            </a:r>
          </a:p>
          <a:p>
            <a:pPr marL="342900" indent="-342900">
              <a:buFont typeface="Arial" panose="020B0604020202020204" pitchFamily="34" charset="0"/>
              <a:buChar char="•"/>
            </a:pPr>
            <a:r>
              <a:rPr lang="en-US" sz="2400" dirty="0"/>
              <a:t>Many of the same structures are involved in emotional processing, in evaluating risk and in controlling impulsivity. </a:t>
            </a:r>
            <a:r>
              <a:rPr lang="en-US" sz="2400" b="1" dirty="0"/>
              <a:t>These include the hippocampus, the amygdala, the nucleus </a:t>
            </a:r>
            <a:r>
              <a:rPr lang="en-US" sz="2400" b="1" dirty="0" err="1"/>
              <a:t>accumbens</a:t>
            </a:r>
            <a:r>
              <a:rPr lang="en-US" sz="2400" b="1" dirty="0"/>
              <a:t> and the prefrontal cortex, all of which undergo change during adolescence </a:t>
            </a:r>
            <a:r>
              <a:rPr lang="en-US" sz="2400" dirty="0"/>
              <a:t>(</a:t>
            </a:r>
            <a:r>
              <a:rPr lang="en-US" dirty="0"/>
              <a:t>Griffin, 2017). </a:t>
            </a:r>
            <a:endParaRPr lang="en-US" dirty="0">
              <a:solidFill>
                <a:srgbClr val="00B0F0"/>
              </a:solidFill>
            </a:endParaRPr>
          </a:p>
          <a:p>
            <a:endParaRPr lang="en-US" dirty="0"/>
          </a:p>
        </p:txBody>
      </p:sp>
      <p:sp>
        <p:nvSpPr>
          <p:cNvPr id="4" name="Slide Number Placeholder 3"/>
          <p:cNvSpPr>
            <a:spLocks noGrp="1"/>
          </p:cNvSpPr>
          <p:nvPr>
            <p:ph type="sldNum" sz="quarter" idx="12"/>
          </p:nvPr>
        </p:nvSpPr>
        <p:spPr/>
        <p:txBody>
          <a:bodyPr/>
          <a:lstStyle/>
          <a:p>
            <a:fld id="{4E46249D-581C-4C8F-83DD-B87371934A8D}" type="slidenum">
              <a:rPr lang="en-US" smtClean="0"/>
              <a:t>32</a:t>
            </a:fld>
            <a:endParaRPr lang="en-US" dirty="0"/>
          </a:p>
        </p:txBody>
      </p:sp>
    </p:spTree>
    <p:extLst>
      <p:ext uri="{BB962C8B-B14F-4D97-AF65-F5344CB8AC3E}">
        <p14:creationId xmlns:p14="http://schemas.microsoft.com/office/powerpoint/2010/main" val="3137547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41972"/>
            <a:ext cx="10908791" cy="548640"/>
          </a:xfrm>
        </p:spPr>
        <p:txBody>
          <a:bodyPr/>
          <a:lstStyle/>
          <a:p>
            <a:pPr algn="ctr"/>
            <a:r>
              <a:rPr lang="en-US" dirty="0"/>
              <a:t>Human Adolescent Brain Development </a:t>
            </a:r>
            <a:br>
              <a:rPr lang="en-US" dirty="0"/>
            </a:br>
            <a:r>
              <a:rPr lang="en-US" dirty="0"/>
              <a:t>Is Crucial To Adult Functioning (3)</a:t>
            </a:r>
          </a:p>
        </p:txBody>
      </p:sp>
      <p:sp>
        <p:nvSpPr>
          <p:cNvPr id="3" name="Content Placeholder 2"/>
          <p:cNvSpPr>
            <a:spLocks noGrp="1"/>
          </p:cNvSpPr>
          <p:nvPr>
            <p:ph idx="1"/>
          </p:nvPr>
        </p:nvSpPr>
        <p:spPr>
          <a:xfrm>
            <a:off x="104932" y="855702"/>
            <a:ext cx="12087068" cy="6080011"/>
          </a:xfrm>
        </p:spPr>
        <p:txBody>
          <a:bodyPr>
            <a:noAutofit/>
          </a:bodyPr>
          <a:lstStyle/>
          <a:p>
            <a:pPr marL="342900" indent="-342900">
              <a:buFont typeface="Arial" panose="020B0604020202020204" pitchFamily="34" charset="0"/>
              <a:buChar char="•"/>
            </a:pPr>
            <a:r>
              <a:rPr lang="en-US" sz="2400" b="1" dirty="0"/>
              <a:t>The defining feature of our human brain is our late-evolving pre-frontal cortex</a:t>
            </a:r>
            <a:r>
              <a:rPr lang="en-US" sz="2400" dirty="0"/>
              <a:t>. One of the key functions of the pre-frontal cortex is to become skilled at reconciling internal emotional states with the demands of external reality. </a:t>
            </a:r>
          </a:p>
          <a:p>
            <a:pPr marL="342900" indent="-342900">
              <a:buFont typeface="Arial" panose="020B0604020202020204" pitchFamily="34" charset="0"/>
              <a:buChar char="•"/>
            </a:pPr>
            <a:r>
              <a:rPr lang="en-US" sz="2400" dirty="0"/>
              <a:t>While the deeper subcortical areas have done most of their development by adolescence, the prefrontal cortex enters a critical period; it may not fully mature until the mid-twenties or even later. It is central to empathy, decision-making, and the regulation of complex social behaviors. </a:t>
            </a:r>
          </a:p>
          <a:p>
            <a:pPr marL="342900" indent="-342900">
              <a:buFont typeface="Arial" panose="020B0604020202020204" pitchFamily="34" charset="0"/>
              <a:buChar char="•"/>
            </a:pPr>
            <a:r>
              <a:rPr lang="en-US" sz="2400" dirty="0"/>
              <a:t>As the pre-frontal cortex develops, utilizing feedback from the environment to shape its progress, we learn how to manage long term planning, monitoring what is going on and adjusting smoothly while keeping our emotions and behaviors appropriate to the context. This ability is assisted by the growing inhibitory influence of the prefrontal dopamine system, which gradually improves the ability of teens to ‘apply the brakes’ (Griffin, 2017). </a:t>
            </a:r>
            <a:r>
              <a:rPr lang="en-US" sz="2400" dirty="0">
                <a:solidFill>
                  <a:srgbClr val="00B0F0"/>
                </a:solidFill>
              </a:rPr>
              <a:t>https://www.ncbi.nlm.nih.gov/pmc/articles/PMC5746696/</a:t>
            </a:r>
          </a:p>
          <a:p>
            <a:endParaRPr lang="en-US" sz="2400" dirty="0"/>
          </a:p>
          <a:p>
            <a:endParaRPr lang="en-US" sz="2400" dirty="0"/>
          </a:p>
        </p:txBody>
      </p:sp>
      <p:sp>
        <p:nvSpPr>
          <p:cNvPr id="4" name="Slide Number Placeholder 3"/>
          <p:cNvSpPr>
            <a:spLocks noGrp="1"/>
          </p:cNvSpPr>
          <p:nvPr>
            <p:ph type="sldNum" sz="quarter" idx="12"/>
          </p:nvPr>
        </p:nvSpPr>
        <p:spPr/>
        <p:txBody>
          <a:bodyPr/>
          <a:lstStyle/>
          <a:p>
            <a:fld id="{4E46249D-581C-4C8F-83DD-B87371934A8D}" type="slidenum">
              <a:rPr lang="en-US" smtClean="0"/>
              <a:t>33</a:t>
            </a:fld>
            <a:endParaRPr lang="en-US" dirty="0"/>
          </a:p>
        </p:txBody>
      </p:sp>
    </p:spTree>
    <p:extLst>
      <p:ext uri="{BB962C8B-B14F-4D97-AF65-F5344CB8AC3E}">
        <p14:creationId xmlns:p14="http://schemas.microsoft.com/office/powerpoint/2010/main" val="721591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1440"/>
            <a:ext cx="12037102" cy="548640"/>
          </a:xfrm>
        </p:spPr>
        <p:txBody>
          <a:bodyPr>
            <a:normAutofit/>
          </a:bodyPr>
          <a:lstStyle/>
          <a:p>
            <a:pPr algn="ctr"/>
            <a:r>
              <a:rPr lang="en-US" dirty="0"/>
              <a:t>Cannabis Use May Disrupt Adolescent Brain Development </a:t>
            </a:r>
          </a:p>
        </p:txBody>
      </p:sp>
      <p:sp>
        <p:nvSpPr>
          <p:cNvPr id="3" name="Content Placeholder 2"/>
          <p:cNvSpPr>
            <a:spLocks noGrp="1"/>
          </p:cNvSpPr>
          <p:nvPr>
            <p:ph idx="1"/>
          </p:nvPr>
        </p:nvSpPr>
        <p:spPr>
          <a:xfrm>
            <a:off x="0" y="640080"/>
            <a:ext cx="12191999" cy="5451922"/>
          </a:xfrm>
        </p:spPr>
        <p:txBody>
          <a:bodyPr>
            <a:noAutofit/>
          </a:bodyPr>
          <a:lstStyle/>
          <a:p>
            <a:pPr marL="342900" indent="-342900">
              <a:buFont typeface="Arial" panose="020B0604020202020204" pitchFamily="34" charset="0"/>
              <a:buChar char="•"/>
            </a:pPr>
            <a:r>
              <a:rPr lang="en-US" sz="2400" dirty="0"/>
              <a:t>Animal studies show the adolescent brain is sensitive to disruptions in endocannabinoid signaling, resulting in altered neurodevelopment and lasting behavioral effects. The regular use of cannabis during adolescence is concerning (Volkow, Baler, Compton et al., 2014).</a:t>
            </a:r>
          </a:p>
          <a:p>
            <a:pPr marL="342900" indent="-342900">
              <a:buFont typeface="Arial" panose="020B0604020202020204" pitchFamily="34" charset="0"/>
              <a:buChar char="•"/>
            </a:pPr>
            <a:r>
              <a:rPr lang="en-US" sz="2400" b="1" dirty="0"/>
              <a:t>Use in this age group is associated with an increased likelihood of deleterious consequences, </a:t>
            </a:r>
          </a:p>
          <a:p>
            <a:pPr marL="342900" indent="-342900">
              <a:buFont typeface="Arial" panose="020B0604020202020204" pitchFamily="34" charset="0"/>
              <a:buChar char="•"/>
            </a:pPr>
            <a:r>
              <a:rPr lang="en-US" sz="2400" b="1" dirty="0"/>
              <a:t>Such as, diminished scholastic achievement, </a:t>
            </a:r>
          </a:p>
          <a:p>
            <a:pPr marL="342900" indent="-342900">
              <a:buFont typeface="Arial" panose="020B0604020202020204" pitchFamily="34" charset="0"/>
              <a:buChar char="•"/>
            </a:pPr>
            <a:r>
              <a:rPr lang="en-US" sz="2400" b="1" dirty="0"/>
              <a:t>Lower degree attainment and school abandonment, </a:t>
            </a:r>
          </a:p>
          <a:p>
            <a:pPr marL="342900" indent="-342900">
              <a:buFont typeface="Arial" panose="020B0604020202020204" pitchFamily="34" charset="0"/>
              <a:buChar char="•"/>
            </a:pPr>
            <a:r>
              <a:rPr lang="en-US" sz="2400" b="1" dirty="0"/>
              <a:t>Liability to addiction</a:t>
            </a:r>
            <a:r>
              <a:rPr lang="en-US" sz="2400" dirty="0"/>
              <a:t> (Silins, Horwood, Patton et al, 2014). </a:t>
            </a:r>
          </a:p>
          <a:p>
            <a:pPr marL="342900" indent="-342900">
              <a:buFont typeface="Arial" panose="020B0604020202020204" pitchFamily="34" charset="0"/>
              <a:buChar char="•"/>
            </a:pPr>
            <a:r>
              <a:rPr lang="en-US" sz="2400" b="1" dirty="0"/>
              <a:t>Earlier onset of psychosis</a:t>
            </a:r>
            <a:r>
              <a:rPr lang="en-US" sz="2400" dirty="0"/>
              <a:t> (Di Forti, Sallis, Allegri et al., 2014) and </a:t>
            </a:r>
          </a:p>
          <a:p>
            <a:pPr marL="342900" indent="-342900">
              <a:buFont typeface="Arial" panose="020B0604020202020204" pitchFamily="34" charset="0"/>
              <a:buChar char="•"/>
            </a:pPr>
            <a:r>
              <a:rPr lang="en-US" sz="2400" b="1" dirty="0"/>
              <a:t>Neuropsychological decline</a:t>
            </a:r>
            <a:r>
              <a:rPr lang="en-US" sz="2400" dirty="0"/>
              <a:t> (Meier, Caspi, Ambler et al., 2012). </a:t>
            </a:r>
          </a:p>
        </p:txBody>
      </p:sp>
      <p:sp>
        <p:nvSpPr>
          <p:cNvPr id="4" name="Slide Number Placeholder 3"/>
          <p:cNvSpPr>
            <a:spLocks noGrp="1"/>
          </p:cNvSpPr>
          <p:nvPr>
            <p:ph type="sldNum" sz="quarter" idx="12"/>
          </p:nvPr>
        </p:nvSpPr>
        <p:spPr/>
        <p:txBody>
          <a:bodyPr/>
          <a:lstStyle/>
          <a:p>
            <a:fld id="{4E46249D-581C-4C8F-83DD-B87371934A8D}" type="slidenum">
              <a:rPr lang="en-US" smtClean="0"/>
              <a:t>34</a:t>
            </a:fld>
            <a:endParaRPr lang="en-US" dirty="0"/>
          </a:p>
        </p:txBody>
      </p:sp>
    </p:spTree>
    <p:extLst>
      <p:ext uri="{BB962C8B-B14F-4D97-AF65-F5344CB8AC3E}">
        <p14:creationId xmlns:p14="http://schemas.microsoft.com/office/powerpoint/2010/main" val="37749905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2926" y="0"/>
            <a:ext cx="11274552" cy="822960"/>
          </a:xfrm>
        </p:spPr>
        <p:txBody>
          <a:bodyPr/>
          <a:lstStyle/>
          <a:p>
            <a:pPr algn="ctr"/>
            <a:r>
              <a:rPr lang="en-US" dirty="0"/>
              <a:t>Cannabis Use and the Adolescent Brain </a:t>
            </a:r>
          </a:p>
        </p:txBody>
      </p:sp>
      <p:sp>
        <p:nvSpPr>
          <p:cNvPr id="3" name="Content Placeholder 2"/>
          <p:cNvSpPr>
            <a:spLocks noGrp="1"/>
          </p:cNvSpPr>
          <p:nvPr>
            <p:ph idx="1"/>
          </p:nvPr>
        </p:nvSpPr>
        <p:spPr>
          <a:xfrm>
            <a:off x="168441" y="545433"/>
            <a:ext cx="11831054" cy="5461668"/>
          </a:xfrm>
        </p:spPr>
        <p:txBody>
          <a:bodyPr/>
          <a:lstStyle/>
          <a:p>
            <a:pPr marL="342900" indent="-342900">
              <a:buFont typeface="Arial" panose="020B0604020202020204" pitchFamily="34" charset="0"/>
              <a:buChar char="•"/>
            </a:pPr>
            <a:r>
              <a:rPr lang="en-US" sz="2400" dirty="0"/>
              <a:t>Few studies have investigated cannabis use and human brain development.</a:t>
            </a:r>
          </a:p>
          <a:p>
            <a:pPr marL="342900" indent="-342900">
              <a:buFont typeface="Arial" panose="020B0604020202020204" pitchFamily="34" charset="0"/>
              <a:buChar char="•"/>
            </a:pPr>
            <a:r>
              <a:rPr lang="en-US" sz="2400" dirty="0"/>
              <a:t>To examine the degree that cerebral </a:t>
            </a:r>
            <a:r>
              <a:rPr lang="en-US" sz="2400" b="1" dirty="0"/>
              <a:t>cortical thickness is associated with cannabis use in a longitudinal sample of adolescents</a:t>
            </a:r>
            <a:r>
              <a:rPr lang="en-US" sz="2400" dirty="0"/>
              <a:t>.</a:t>
            </a:r>
          </a:p>
          <a:p>
            <a:pPr marL="342900" indent="-342900">
              <a:buFont typeface="Arial" panose="020B0604020202020204" pitchFamily="34" charset="0"/>
              <a:buChar char="•"/>
            </a:pPr>
            <a:r>
              <a:rPr lang="en-US" sz="2400" dirty="0"/>
              <a:t>Data were obtained from the IMAGEN cohort study, conducted across 8 European sites.  A total of 799 IMAGEN participants reported being cannabis naive at study baseline and had behavioral and neuroimaging data available at baseline and 5-year follow-up. </a:t>
            </a:r>
          </a:p>
          <a:p>
            <a:pPr marL="342900" indent="-342900">
              <a:buFont typeface="Arial" panose="020B0604020202020204" pitchFamily="34" charset="0"/>
              <a:buChar char="•"/>
            </a:pPr>
            <a:r>
              <a:rPr lang="en-US" sz="2400" dirty="0"/>
              <a:t>The study evaluated 1598 MR images from 799 participants (450 female participants [56.3%]; mean [SD] age, 14.4 [0.4] years at baseline and 19.0 [0.7] years at follow-up). </a:t>
            </a:r>
          </a:p>
          <a:p>
            <a:pPr marL="342900" indent="-342900">
              <a:buFont typeface="Arial" panose="020B0604020202020204" pitchFamily="34" charset="0"/>
              <a:buChar char="•"/>
            </a:pPr>
            <a:r>
              <a:rPr lang="en-US" sz="2400" dirty="0"/>
              <a:t>At 5-year follow-up, cannabis use (from 0 to &gt;40 uses) was negatively associated with thickness in left prefrontal and right prefrontal cortices.</a:t>
            </a:r>
          </a:p>
          <a:p>
            <a:pPr algn="ctr"/>
            <a:r>
              <a:rPr lang="en-US" dirty="0" err="1"/>
              <a:t>Albaugh</a:t>
            </a:r>
            <a:r>
              <a:rPr lang="en-US" dirty="0"/>
              <a:t>,  </a:t>
            </a:r>
            <a:r>
              <a:rPr lang="en-US" dirty="0" err="1"/>
              <a:t>Ottino</a:t>
            </a:r>
            <a:r>
              <a:rPr lang="en-US" dirty="0"/>
              <a:t>-Gonzalez, </a:t>
            </a:r>
            <a:r>
              <a:rPr lang="en-US" dirty="0" err="1"/>
              <a:t>Sidwell</a:t>
            </a:r>
            <a:r>
              <a:rPr lang="en-US" dirty="0"/>
              <a:t> et al., 2021</a:t>
            </a:r>
          </a:p>
          <a:p>
            <a:endParaRPr lang="en-US" dirty="0"/>
          </a:p>
        </p:txBody>
      </p:sp>
    </p:spTree>
    <p:extLst>
      <p:ext uri="{BB962C8B-B14F-4D97-AF65-F5344CB8AC3E}">
        <p14:creationId xmlns:p14="http://schemas.microsoft.com/office/powerpoint/2010/main" val="5268728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78" y="0"/>
            <a:ext cx="10908791" cy="548640"/>
          </a:xfrm>
        </p:spPr>
        <p:txBody>
          <a:bodyPr>
            <a:normAutofit/>
          </a:bodyPr>
          <a:lstStyle/>
          <a:p>
            <a:pPr algn="ctr"/>
            <a:r>
              <a:rPr lang="en-US" dirty="0"/>
              <a:t>Cannabis Use and Adolescent Brain (2) </a:t>
            </a:r>
          </a:p>
        </p:txBody>
      </p:sp>
      <p:sp>
        <p:nvSpPr>
          <p:cNvPr id="3" name="Content Placeholder 2"/>
          <p:cNvSpPr>
            <a:spLocks noGrp="1"/>
          </p:cNvSpPr>
          <p:nvPr>
            <p:ph idx="1"/>
          </p:nvPr>
        </p:nvSpPr>
        <p:spPr>
          <a:xfrm>
            <a:off x="0" y="548640"/>
            <a:ext cx="12192000" cy="6151963"/>
          </a:xfrm>
        </p:spPr>
        <p:txBody>
          <a:bodyPr>
            <a:normAutofit fontScale="25000" lnSpcReduction="20000"/>
          </a:bodyPr>
          <a:lstStyle/>
          <a:p>
            <a:r>
              <a:rPr lang="en-US" sz="9600" dirty="0"/>
              <a:t>There were no significant associations between lifetime cannabis use at 5-year follow-up and baseline cortical thickness, suggesting that the </a:t>
            </a:r>
            <a:r>
              <a:rPr lang="en-US" sz="9600" b="1" dirty="0"/>
              <a:t>observed neuroanatomical differences did not precede initiation of cannabis use. </a:t>
            </a:r>
          </a:p>
          <a:p>
            <a:r>
              <a:rPr lang="en-US" sz="9600" dirty="0"/>
              <a:t>Longitudinal analysis revealed that </a:t>
            </a:r>
            <a:r>
              <a:rPr lang="en-US" sz="9600" b="1" dirty="0"/>
              <a:t>age-related cortical thinning was modified by cannabis use in a dose-dependent fashion such that greater use, from baseline to follow-up, was associated with increased thinning in left prefrontal and right prefrontal cortices</a:t>
            </a:r>
            <a:r>
              <a:rPr lang="en-US" sz="9600" dirty="0"/>
              <a:t>. </a:t>
            </a:r>
          </a:p>
          <a:p>
            <a:r>
              <a:rPr lang="en-US" sz="9600" dirty="0"/>
              <a:t>The spatial pattern of cannabis-related thinning was associated with age-related thinning (</a:t>
            </a:r>
            <a:r>
              <a:rPr lang="en-US" sz="9600" i="1" dirty="0"/>
              <a:t>r </a:t>
            </a:r>
            <a:r>
              <a:rPr lang="en-US" sz="9600" dirty="0"/>
              <a:t>= 0.540; </a:t>
            </a:r>
            <a:r>
              <a:rPr lang="en-US" sz="9600" i="1" dirty="0"/>
              <a:t>P </a:t>
            </a:r>
            <a:r>
              <a:rPr lang="en-US" sz="9600" dirty="0"/>
              <a:t>&lt; .001), and </a:t>
            </a:r>
            <a:r>
              <a:rPr lang="en-US" sz="9600" b="1" dirty="0"/>
              <a:t>a PET assessed CB 1 receptor map</a:t>
            </a:r>
            <a:r>
              <a:rPr lang="en-US" sz="9600" dirty="0"/>
              <a:t>. </a:t>
            </a:r>
          </a:p>
          <a:p>
            <a:r>
              <a:rPr lang="en-US" sz="9600" dirty="0"/>
              <a:t>Analysis revealed that </a:t>
            </a:r>
            <a:r>
              <a:rPr lang="en-US" sz="9600" b="1" dirty="0"/>
              <a:t>thinning in right prefrontal cortices, from baseline to follow-up, was associated with attentional impulsiveness</a:t>
            </a:r>
            <a:r>
              <a:rPr lang="en-US" sz="9600" dirty="0"/>
              <a:t> at follow-up.</a:t>
            </a:r>
          </a:p>
          <a:p>
            <a:r>
              <a:rPr lang="en-US" sz="9600" b="1" dirty="0"/>
              <a:t>Results suggest that cannabis use during adolescence is associated with altered neurodevelopment </a:t>
            </a:r>
            <a:r>
              <a:rPr lang="en-US" sz="9600" dirty="0"/>
              <a:t>(</a:t>
            </a:r>
            <a:r>
              <a:rPr lang="en-US" sz="9600" dirty="0" err="1"/>
              <a:t>Albaugh</a:t>
            </a:r>
            <a:r>
              <a:rPr lang="en-US" sz="9600" dirty="0"/>
              <a:t>, </a:t>
            </a:r>
            <a:r>
              <a:rPr lang="en-US" sz="9600" dirty="0" err="1"/>
              <a:t>Ottino</a:t>
            </a:r>
            <a:r>
              <a:rPr lang="en-US" sz="9600" dirty="0"/>
              <a:t>-Gonzalez, </a:t>
            </a:r>
            <a:r>
              <a:rPr lang="en-US" sz="9600" dirty="0" err="1"/>
              <a:t>Sidwell</a:t>
            </a:r>
            <a:r>
              <a:rPr lang="en-US" sz="9600" dirty="0"/>
              <a:t> et al., 2021).</a:t>
            </a:r>
          </a:p>
          <a:p>
            <a:r>
              <a:rPr lang="en-US" sz="9600" dirty="0"/>
              <a:t>Attentional impulsivity is a factor in impaired academic performance and progression to dependence. </a:t>
            </a:r>
          </a:p>
          <a:p>
            <a:endParaRPr lang="en-US" sz="6400" dirty="0"/>
          </a:p>
        </p:txBody>
      </p:sp>
      <p:sp>
        <p:nvSpPr>
          <p:cNvPr id="4" name="Slide Number Placeholder 3"/>
          <p:cNvSpPr>
            <a:spLocks noGrp="1"/>
          </p:cNvSpPr>
          <p:nvPr>
            <p:ph type="sldNum" sz="quarter" idx="12"/>
          </p:nvPr>
        </p:nvSpPr>
        <p:spPr/>
        <p:txBody>
          <a:bodyPr/>
          <a:lstStyle/>
          <a:p>
            <a:fld id="{4E46249D-581C-4C8F-83DD-B87371934A8D}" type="slidenum">
              <a:rPr lang="en-US" smtClean="0"/>
              <a:t>36</a:t>
            </a:fld>
            <a:endParaRPr lang="en-US" dirty="0"/>
          </a:p>
        </p:txBody>
      </p:sp>
    </p:spTree>
    <p:extLst>
      <p:ext uri="{BB962C8B-B14F-4D97-AF65-F5344CB8AC3E}">
        <p14:creationId xmlns:p14="http://schemas.microsoft.com/office/powerpoint/2010/main" val="39649124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5080"/>
            <a:ext cx="11210383" cy="458162"/>
          </a:xfrm>
        </p:spPr>
        <p:txBody>
          <a:bodyPr/>
          <a:lstStyle/>
          <a:p>
            <a:pPr algn="ctr"/>
            <a:r>
              <a:rPr lang="en-US" dirty="0"/>
              <a:t>Cannabis Use and Adolescent Brain (2) </a:t>
            </a:r>
          </a:p>
        </p:txBody>
      </p:sp>
      <p:sp>
        <p:nvSpPr>
          <p:cNvPr id="3" name="Content Placeholder 2"/>
          <p:cNvSpPr>
            <a:spLocks noGrp="1"/>
          </p:cNvSpPr>
          <p:nvPr>
            <p:ph idx="1"/>
          </p:nvPr>
        </p:nvSpPr>
        <p:spPr>
          <a:xfrm>
            <a:off x="561474" y="537411"/>
            <a:ext cx="11462084" cy="5469689"/>
          </a:xfrm>
        </p:spPr>
        <p:txBody>
          <a:bodyPr/>
          <a:lstStyle/>
          <a:p>
            <a:pPr marL="342900" indent="-342900">
              <a:buFont typeface="Arial" panose="020B0604020202020204" pitchFamily="34" charset="0"/>
              <a:buChar char="•"/>
            </a:pPr>
            <a:r>
              <a:rPr lang="en-US" sz="2400" dirty="0"/>
              <a:t>There were no significant associations between lifetime cannabis use at 5-year follow-up and baseline cortical thickness, suggesting that the </a:t>
            </a:r>
            <a:r>
              <a:rPr lang="en-US" sz="2400" b="1" dirty="0"/>
              <a:t>observed neuroanatomical differences did not precede initiation of cannabis use. </a:t>
            </a:r>
          </a:p>
          <a:p>
            <a:pPr marL="342900" indent="-342900">
              <a:buFont typeface="Arial" panose="020B0604020202020204" pitchFamily="34" charset="0"/>
              <a:buChar char="•"/>
            </a:pPr>
            <a:r>
              <a:rPr lang="en-US" sz="2400" dirty="0"/>
              <a:t>Longitudinal analysis revealed that </a:t>
            </a:r>
            <a:r>
              <a:rPr lang="en-US" sz="2400" b="1" dirty="0"/>
              <a:t>age-related cortical thinning was modified by cannabis use in a dose-dependent fashion such that greater use, from baseline to follow-up, was associated with increased thinning in left prefrontal and right prefrontal cortices</a:t>
            </a:r>
            <a:r>
              <a:rPr lang="en-US" sz="2400" dirty="0"/>
              <a:t>. </a:t>
            </a:r>
          </a:p>
          <a:p>
            <a:pPr marL="342900" indent="-342900">
              <a:buFont typeface="Arial" panose="020B0604020202020204" pitchFamily="34" charset="0"/>
              <a:buChar char="•"/>
            </a:pPr>
            <a:r>
              <a:rPr lang="en-US" sz="2400" dirty="0"/>
              <a:t>The spatial pattern of cannabis-related thinning was associated with age-related thinning (</a:t>
            </a:r>
            <a:r>
              <a:rPr lang="en-US" sz="2400" i="1" dirty="0"/>
              <a:t>r </a:t>
            </a:r>
            <a:r>
              <a:rPr lang="en-US" sz="2400" dirty="0"/>
              <a:t>= 0.540; </a:t>
            </a:r>
            <a:r>
              <a:rPr lang="en-US" sz="2400" i="1" dirty="0"/>
              <a:t>P </a:t>
            </a:r>
            <a:r>
              <a:rPr lang="en-US" sz="2400" dirty="0"/>
              <a:t>&lt; .001), and </a:t>
            </a:r>
            <a:r>
              <a:rPr lang="en-US" sz="2400" b="1" dirty="0"/>
              <a:t>a PET assessed CB 1 receptor map</a:t>
            </a:r>
            <a:r>
              <a:rPr lang="en-US" sz="2400" dirty="0"/>
              <a:t>. </a:t>
            </a:r>
          </a:p>
          <a:p>
            <a:pPr marL="342900" indent="-342900">
              <a:buFont typeface="Arial" panose="020B0604020202020204" pitchFamily="34" charset="0"/>
              <a:buChar char="•"/>
            </a:pPr>
            <a:r>
              <a:rPr lang="en-US" sz="2400" dirty="0"/>
              <a:t>Analysis revealed that </a:t>
            </a:r>
            <a:r>
              <a:rPr lang="en-US" sz="2400" b="1" dirty="0"/>
              <a:t>thinning in right prefrontal cortices, from baseline to follow-up, was associated with attentional impulsiveness</a:t>
            </a:r>
            <a:r>
              <a:rPr lang="en-US" sz="2400" dirty="0"/>
              <a:t> at follow-up.</a:t>
            </a:r>
          </a:p>
          <a:p>
            <a:pPr marL="342900" indent="-342900">
              <a:buFont typeface="Arial" panose="020B0604020202020204" pitchFamily="34" charset="0"/>
              <a:buChar char="•"/>
            </a:pPr>
            <a:r>
              <a:rPr lang="en-US" sz="2400" b="1" dirty="0"/>
              <a:t>Results suggest that cannabis use during adolescence is associated with altered neurodevelopment </a:t>
            </a:r>
            <a:r>
              <a:rPr lang="en-US" sz="2400" dirty="0"/>
              <a:t>(</a:t>
            </a:r>
            <a:r>
              <a:rPr lang="en-US" sz="2400" dirty="0" err="1"/>
              <a:t>Albaugh</a:t>
            </a:r>
            <a:r>
              <a:rPr lang="en-US" sz="2400" dirty="0"/>
              <a:t>, </a:t>
            </a:r>
            <a:r>
              <a:rPr lang="en-US" sz="2400" dirty="0" err="1"/>
              <a:t>Ottino</a:t>
            </a:r>
            <a:r>
              <a:rPr lang="en-US" sz="2400" dirty="0"/>
              <a:t>-Gonzalez, </a:t>
            </a:r>
            <a:r>
              <a:rPr lang="en-US" sz="2400" dirty="0" err="1"/>
              <a:t>Sidwell</a:t>
            </a:r>
            <a:r>
              <a:rPr lang="en-US" sz="2400" dirty="0"/>
              <a:t> et al., 2021).</a:t>
            </a:r>
          </a:p>
          <a:p>
            <a:r>
              <a:rPr lang="en-US" sz="2400" dirty="0"/>
              <a:t> </a:t>
            </a:r>
          </a:p>
          <a:p>
            <a:endParaRPr lang="en-US" dirty="0"/>
          </a:p>
        </p:txBody>
      </p:sp>
    </p:spTree>
    <p:extLst>
      <p:ext uri="{BB962C8B-B14F-4D97-AF65-F5344CB8AC3E}">
        <p14:creationId xmlns:p14="http://schemas.microsoft.com/office/powerpoint/2010/main" val="42454803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11993"/>
            <a:ext cx="10908791" cy="548640"/>
          </a:xfrm>
        </p:spPr>
        <p:txBody>
          <a:bodyPr>
            <a:normAutofit/>
          </a:bodyPr>
          <a:lstStyle/>
          <a:p>
            <a:pPr algn="ctr"/>
            <a:r>
              <a:rPr lang="en-US" dirty="0"/>
              <a:t>Adolescent Cannabis Use and Mental Health  </a:t>
            </a:r>
          </a:p>
        </p:txBody>
      </p:sp>
      <p:sp>
        <p:nvSpPr>
          <p:cNvPr id="3" name="Content Placeholder 2"/>
          <p:cNvSpPr>
            <a:spLocks noGrp="1"/>
          </p:cNvSpPr>
          <p:nvPr>
            <p:ph idx="1"/>
          </p:nvPr>
        </p:nvSpPr>
        <p:spPr>
          <a:xfrm>
            <a:off x="75924" y="560633"/>
            <a:ext cx="12037102" cy="5966084"/>
          </a:xfrm>
        </p:spPr>
        <p:txBody>
          <a:bodyPr>
            <a:noAutofit/>
          </a:bodyPr>
          <a:lstStyle/>
          <a:p>
            <a:pPr marL="457200" indent="-457200">
              <a:buFont typeface="Arial" panose="020B0604020202020204" pitchFamily="34" charset="0"/>
              <a:buChar char="•"/>
            </a:pPr>
            <a:r>
              <a:rPr lang="en-US" sz="2800" dirty="0"/>
              <a:t>Cannabis is the most commonly used drug by adolescents in the world. </a:t>
            </a:r>
          </a:p>
          <a:p>
            <a:pPr marL="457200" indent="-457200">
              <a:buFont typeface="Arial" panose="020B0604020202020204" pitchFamily="34" charset="0"/>
              <a:buChar char="•"/>
            </a:pPr>
            <a:r>
              <a:rPr lang="en-US" sz="2800" dirty="0"/>
              <a:t>Little is known about the impact of cannabis on mood and suicidality in young adults.</a:t>
            </a:r>
          </a:p>
          <a:p>
            <a:pPr marL="457200" indent="-457200">
              <a:buFont typeface="Arial" panose="020B0604020202020204" pitchFamily="34" charset="0"/>
              <a:buChar char="•"/>
            </a:pPr>
            <a:r>
              <a:rPr lang="en-US" sz="2800" dirty="0"/>
              <a:t>Provide an estimate of cannabis use during adolescence association with the risk of developing subsequent major depression, anxiety, and suicidal behavior.</a:t>
            </a:r>
          </a:p>
          <a:p>
            <a:pPr marL="457200" indent="-457200">
              <a:buFont typeface="Arial" panose="020B0604020202020204" pitchFamily="34" charset="0"/>
              <a:buChar char="•"/>
            </a:pPr>
            <a:r>
              <a:rPr lang="en-US" sz="2800" dirty="0"/>
              <a:t>Longitudinal and prospective studies, assessing cannabis use in adolescents younger than 18 years (at least 1 assessment point) and then ascertaining development of depression in young adulthood (age 18 to 32 years) were selected, and odds ratios (OR) adjusted for the presence of baseline depression and/or anxiety and/or suicidality.</a:t>
            </a:r>
          </a:p>
          <a:p>
            <a:pPr marL="0" indent="0" algn="ctr">
              <a:buNone/>
            </a:pPr>
            <a:r>
              <a:rPr lang="en-US" sz="2800" dirty="0"/>
              <a:t>Gobbi, Atkin, Zytynski et al., 2019</a:t>
            </a:r>
          </a:p>
        </p:txBody>
      </p:sp>
      <p:sp>
        <p:nvSpPr>
          <p:cNvPr id="4" name="Slide Number Placeholder 3"/>
          <p:cNvSpPr>
            <a:spLocks noGrp="1"/>
          </p:cNvSpPr>
          <p:nvPr>
            <p:ph type="sldNum" sz="quarter" idx="12"/>
          </p:nvPr>
        </p:nvSpPr>
        <p:spPr/>
        <p:txBody>
          <a:bodyPr/>
          <a:lstStyle/>
          <a:p>
            <a:fld id="{4E46249D-581C-4C8F-83DD-B87371934A8D}" type="slidenum">
              <a:rPr lang="en-US" smtClean="0"/>
              <a:t>38</a:t>
            </a:fld>
            <a:endParaRPr lang="en-US" dirty="0"/>
          </a:p>
        </p:txBody>
      </p:sp>
    </p:spTree>
    <p:extLst>
      <p:ext uri="{BB962C8B-B14F-4D97-AF65-F5344CB8AC3E}">
        <p14:creationId xmlns:p14="http://schemas.microsoft.com/office/powerpoint/2010/main" val="10016980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11993"/>
            <a:ext cx="10908791" cy="548640"/>
          </a:xfrm>
        </p:spPr>
        <p:txBody>
          <a:bodyPr/>
          <a:lstStyle/>
          <a:p>
            <a:pPr algn="ctr"/>
            <a:r>
              <a:rPr lang="en-US" dirty="0"/>
              <a:t>Adolescent Cannabis Use and Mental Health (2) </a:t>
            </a:r>
          </a:p>
        </p:txBody>
      </p:sp>
      <p:sp>
        <p:nvSpPr>
          <p:cNvPr id="3" name="Content Placeholder 2"/>
          <p:cNvSpPr>
            <a:spLocks noGrp="1"/>
          </p:cNvSpPr>
          <p:nvPr>
            <p:ph idx="1"/>
          </p:nvPr>
        </p:nvSpPr>
        <p:spPr>
          <a:xfrm>
            <a:off x="640080" y="368969"/>
            <a:ext cx="11423583" cy="6060996"/>
          </a:xfrm>
        </p:spPr>
        <p:txBody>
          <a:bodyPr>
            <a:noAutofit/>
          </a:bodyPr>
          <a:lstStyle/>
          <a:p>
            <a:pPr marL="342900" indent="-342900">
              <a:buFont typeface="Arial" panose="020B0604020202020204" pitchFamily="34" charset="0"/>
              <a:buChar char="•"/>
            </a:pPr>
            <a:r>
              <a:rPr lang="en-US" sz="2400" dirty="0"/>
              <a:t>11 studies comprising 23,317 individuals were included. </a:t>
            </a:r>
          </a:p>
          <a:p>
            <a:pPr marL="342900" indent="-342900">
              <a:buFont typeface="Arial" panose="020B0604020202020204" pitchFamily="34" charset="0"/>
              <a:buChar char="•"/>
            </a:pPr>
            <a:r>
              <a:rPr lang="en-US" sz="2400" dirty="0"/>
              <a:t>The OR of developing </a:t>
            </a:r>
            <a:r>
              <a:rPr lang="en-US" sz="2400" b="1" dirty="0"/>
              <a:t>depression for cannabis users in young adulthood compared with nonusers was 1.37</a:t>
            </a:r>
            <a:r>
              <a:rPr lang="en-US" sz="2400" dirty="0"/>
              <a:t>.  The pooled OR for suicidal ideation was 1.50, and suicidal attempt was 3.46.</a:t>
            </a:r>
          </a:p>
          <a:p>
            <a:pPr marL="342900" indent="-342900">
              <a:buFont typeface="Arial" panose="020B0604020202020204" pitchFamily="34" charset="0"/>
              <a:buChar char="•"/>
            </a:pPr>
            <a:r>
              <a:rPr lang="en-US" sz="2400" dirty="0"/>
              <a:t>Conclusion: </a:t>
            </a:r>
            <a:r>
              <a:rPr lang="en-US" sz="2400" b="1" dirty="0"/>
              <a:t>the high prevalence of adolescents consuming cannabis generates a large number of young people who could develop depression and suicidality attributable to cannabis</a:t>
            </a:r>
            <a:r>
              <a:rPr lang="en-US" sz="2400" dirty="0"/>
              <a:t>. </a:t>
            </a:r>
          </a:p>
          <a:p>
            <a:pPr marL="342900" indent="-342900">
              <a:buFont typeface="Arial" panose="020B0604020202020204" pitchFamily="34" charset="0"/>
              <a:buChar char="•"/>
            </a:pPr>
            <a:r>
              <a:rPr lang="en-US" sz="2400" dirty="0"/>
              <a:t>This is an important public health problem, which should be properly addressed by health care policy (Gobbi, Atkin, Zytynski et al., 2019).</a:t>
            </a:r>
          </a:p>
          <a:p>
            <a:pPr marL="342900" indent="-342900">
              <a:buFont typeface="Arial" panose="020B0604020202020204" pitchFamily="34" charset="0"/>
              <a:buChar char="•"/>
            </a:pPr>
            <a:r>
              <a:rPr lang="en-US" sz="2400" dirty="0"/>
              <a:t>Attentional impulsivity is consistent with increased risk of suicide attempts and prefrontal lobe dysfunction is consistent with risk of increased depressive symptoms. </a:t>
            </a:r>
          </a:p>
          <a:p>
            <a:pPr marL="342900" indent="-342900">
              <a:buFont typeface="Arial" panose="020B0604020202020204" pitchFamily="34" charset="0"/>
              <a:buChar char="•"/>
            </a:pPr>
            <a:r>
              <a:rPr lang="en-US" sz="2400" dirty="0"/>
              <a:t>This study is consistent with disruption in neurodevelopment found in previous study.</a:t>
            </a:r>
          </a:p>
        </p:txBody>
      </p:sp>
      <p:sp>
        <p:nvSpPr>
          <p:cNvPr id="4" name="Slide Number Placeholder 3"/>
          <p:cNvSpPr>
            <a:spLocks noGrp="1"/>
          </p:cNvSpPr>
          <p:nvPr>
            <p:ph type="sldNum" sz="quarter" idx="12"/>
          </p:nvPr>
        </p:nvSpPr>
        <p:spPr/>
        <p:txBody>
          <a:bodyPr/>
          <a:lstStyle/>
          <a:p>
            <a:fld id="{4E46249D-581C-4C8F-83DD-B87371934A8D}" type="slidenum">
              <a:rPr lang="en-US" smtClean="0"/>
              <a:t>39</a:t>
            </a:fld>
            <a:endParaRPr lang="en-US" dirty="0"/>
          </a:p>
        </p:txBody>
      </p:sp>
    </p:spTree>
    <p:extLst>
      <p:ext uri="{BB962C8B-B14F-4D97-AF65-F5344CB8AC3E}">
        <p14:creationId xmlns:p14="http://schemas.microsoft.com/office/powerpoint/2010/main" val="2612124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5011" y="91440"/>
            <a:ext cx="10908791" cy="548640"/>
          </a:xfrm>
        </p:spPr>
        <p:txBody>
          <a:bodyPr/>
          <a:lstStyle/>
          <a:p>
            <a:pPr algn="ctr"/>
            <a:r>
              <a:rPr lang="en-US" dirty="0"/>
              <a:t>Changes in US Marijuana Use 2001 Through 2013</a:t>
            </a:r>
          </a:p>
        </p:txBody>
      </p:sp>
      <p:sp>
        <p:nvSpPr>
          <p:cNvPr id="3" name="Content Placeholder 2"/>
          <p:cNvSpPr>
            <a:spLocks noGrp="1"/>
          </p:cNvSpPr>
          <p:nvPr>
            <p:ph idx="1"/>
          </p:nvPr>
        </p:nvSpPr>
        <p:spPr>
          <a:xfrm>
            <a:off x="0" y="640080"/>
            <a:ext cx="12192000" cy="6217919"/>
          </a:xfrm>
        </p:spPr>
        <p:txBody>
          <a:bodyPr>
            <a:normAutofit/>
          </a:bodyPr>
          <a:lstStyle/>
          <a:p>
            <a:pPr marL="342900" indent="-342900">
              <a:buFont typeface="Arial" panose="020B0604020202020204" pitchFamily="34" charset="0"/>
              <a:buChar char="•"/>
            </a:pPr>
            <a:r>
              <a:rPr lang="en-US" sz="2400" dirty="0"/>
              <a:t>To present nationally representative information on the past-year prevalence rates of marijuana use and marijuana use disorder among marijuana users in the US adult general population and whether this has changed between 2001-2002 and 2012-2013.</a:t>
            </a:r>
          </a:p>
          <a:p>
            <a:pPr marL="342900" indent="-342900">
              <a:buFont typeface="Arial" panose="020B0604020202020204" pitchFamily="34" charset="0"/>
              <a:buChar char="•"/>
            </a:pPr>
            <a:r>
              <a:rPr lang="en-US" sz="2400" b="1" dirty="0"/>
              <a:t>The prevalence of marijuana use more than doubled between 2001-2002 and 2012-2013, and there was a large increase in marijuana use disorders during that time. </a:t>
            </a:r>
          </a:p>
          <a:p>
            <a:pPr marL="342900" indent="-342900">
              <a:buFont typeface="Arial" panose="020B0604020202020204" pitchFamily="34" charset="0"/>
              <a:buChar char="•"/>
            </a:pPr>
            <a:r>
              <a:rPr lang="en-US" sz="2400" dirty="0"/>
              <a:t>While not all marijuana users experience problems, </a:t>
            </a:r>
            <a:r>
              <a:rPr lang="en-US" sz="2400" b="1" dirty="0"/>
              <a:t>nearly 3 of 10 marijuana users manifested a marijuana use disorder in 2012-2013</a:t>
            </a:r>
            <a:r>
              <a:rPr lang="en-US" sz="2400" dirty="0"/>
              <a:t>. </a:t>
            </a:r>
          </a:p>
          <a:p>
            <a:pPr marL="342900" indent="-342900">
              <a:buFont typeface="Arial" panose="020B0604020202020204" pitchFamily="34" charset="0"/>
              <a:buChar char="•"/>
            </a:pPr>
            <a:r>
              <a:rPr lang="en-US" sz="2400" dirty="0"/>
              <a:t>The prevalence of marijuana use disorder among marijuana users has more than tripled since 1994 (Anthony, Warner, Kessler, 1994).</a:t>
            </a:r>
            <a:endParaRPr lang="en-US" sz="2400" b="1" dirty="0"/>
          </a:p>
          <a:p>
            <a:pPr marL="342900" indent="-342900">
              <a:buFont typeface="Arial" panose="020B0604020202020204" pitchFamily="34" charset="0"/>
              <a:buChar char="•"/>
            </a:pPr>
            <a:r>
              <a:rPr lang="en-US" sz="2400" dirty="0"/>
              <a:t>The increase in prevalence of marijuana use disorder is owing to </a:t>
            </a:r>
            <a:r>
              <a:rPr lang="en-US" sz="2400" b="1" dirty="0"/>
              <a:t>an increase in prevalence of users </a:t>
            </a:r>
            <a:r>
              <a:rPr lang="en-US" sz="2400" dirty="0"/>
              <a:t>in the US adult population</a:t>
            </a:r>
            <a:r>
              <a:rPr lang="en-US" sz="2400" b="1" dirty="0"/>
              <a:t> </a:t>
            </a:r>
            <a:r>
              <a:rPr lang="en-US" sz="2400" dirty="0"/>
              <a:t>(</a:t>
            </a:r>
            <a:r>
              <a:rPr lang="en-US" sz="2400" dirty="0" err="1"/>
              <a:t>Hasin</a:t>
            </a:r>
            <a:r>
              <a:rPr lang="en-US" sz="2400" dirty="0"/>
              <a:t>, </a:t>
            </a:r>
            <a:r>
              <a:rPr lang="en-US" sz="2400" dirty="0" err="1"/>
              <a:t>Saha</a:t>
            </a:r>
            <a:r>
              <a:rPr lang="en-US" sz="2400" dirty="0"/>
              <a:t>, </a:t>
            </a:r>
            <a:r>
              <a:rPr lang="en-US" sz="2400" dirty="0" err="1"/>
              <a:t>Kerridge</a:t>
            </a:r>
            <a:r>
              <a:rPr lang="en-US" sz="2400" dirty="0"/>
              <a:t> et al., 2015).</a:t>
            </a:r>
          </a:p>
        </p:txBody>
      </p:sp>
      <p:sp>
        <p:nvSpPr>
          <p:cNvPr id="4" name="Slide Number Placeholder 3"/>
          <p:cNvSpPr>
            <a:spLocks noGrp="1"/>
          </p:cNvSpPr>
          <p:nvPr>
            <p:ph type="sldNum" sz="quarter" idx="12"/>
          </p:nvPr>
        </p:nvSpPr>
        <p:spPr/>
        <p:txBody>
          <a:bodyPr/>
          <a:lstStyle/>
          <a:p>
            <a:fld id="{4E46249D-581C-4C8F-83DD-B87371934A8D}" type="slidenum">
              <a:rPr lang="en-US" smtClean="0"/>
              <a:t>4</a:t>
            </a:fld>
            <a:endParaRPr lang="en-US" dirty="0"/>
          </a:p>
        </p:txBody>
      </p:sp>
    </p:spTree>
    <p:extLst>
      <p:ext uri="{BB962C8B-B14F-4D97-AF65-F5344CB8AC3E}">
        <p14:creationId xmlns:p14="http://schemas.microsoft.com/office/powerpoint/2010/main" val="36680702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610500" y="31865"/>
            <a:ext cx="10908792" cy="548640"/>
          </a:xfrm>
        </p:spPr>
        <p:txBody>
          <a:bodyPr>
            <a:normAutofit/>
          </a:bodyPr>
          <a:lstStyle/>
          <a:p>
            <a:pPr algn="ctr"/>
            <a:r>
              <a:rPr lang="en-US" dirty="0"/>
              <a:t>Main Points</a:t>
            </a:r>
          </a:p>
        </p:txBody>
      </p:sp>
      <p:sp>
        <p:nvSpPr>
          <p:cNvPr id="6" name="Content Placeholder 2"/>
          <p:cNvSpPr>
            <a:spLocks noGrp="1"/>
          </p:cNvSpPr>
          <p:nvPr>
            <p:ph type="body" sz="quarter" idx="10"/>
          </p:nvPr>
        </p:nvSpPr>
        <p:spPr>
          <a:xfrm>
            <a:off x="0" y="576395"/>
            <a:ext cx="12192000" cy="5749454"/>
          </a:xfrm>
        </p:spPr>
        <p:txBody>
          <a:bodyPr>
            <a:normAutofit fontScale="92500" lnSpcReduction="20000"/>
          </a:bodyPr>
          <a:lstStyle/>
          <a:p>
            <a:pPr marL="457200" indent="-457200">
              <a:buFont typeface="Arial" panose="020B0604020202020204" pitchFamily="34" charset="0"/>
              <a:buChar char="•"/>
            </a:pPr>
            <a:r>
              <a:rPr lang="en-US" sz="2600" dirty="0">
                <a:solidFill>
                  <a:schemeClr val="tx2"/>
                </a:solidFill>
              </a:rPr>
              <a:t>Marijuana is not a single-agent compound but a complex combination of more than 100 different chemicals that affects a complex and poorly understood neurotransmitter system</a:t>
            </a:r>
            <a:r>
              <a:rPr lang="en-US" sz="2600" b="1" dirty="0">
                <a:solidFill>
                  <a:schemeClr val="tx2"/>
                </a:solidFill>
              </a:rPr>
              <a:t>.</a:t>
            </a:r>
          </a:p>
          <a:p>
            <a:pPr marL="457200" indent="-457200">
              <a:buFont typeface="Arial" panose="020B0604020202020204" pitchFamily="34" charset="0"/>
              <a:buChar char="•"/>
            </a:pPr>
            <a:r>
              <a:rPr lang="en-US" sz="2600" dirty="0">
                <a:solidFill>
                  <a:schemeClr val="tx2"/>
                </a:solidFill>
              </a:rPr>
              <a:t>Public support for legalizing marijuana has increased steadily since the 1970’s and possibly peaked during 2022.</a:t>
            </a:r>
          </a:p>
          <a:p>
            <a:pPr marL="457200" indent="-457200">
              <a:buFont typeface="Arial" panose="020B0604020202020204" pitchFamily="34" charset="0"/>
              <a:buChar char="•"/>
            </a:pPr>
            <a:r>
              <a:rPr lang="en-US" sz="2600" dirty="0">
                <a:solidFill>
                  <a:schemeClr val="tx2"/>
                </a:solidFill>
              </a:rPr>
              <a:t>The prevalence of marijuana use among US adults more than doubled between 2001-2002 and 2012-2013, and there was a large increase in marijuana use disorders during that time. </a:t>
            </a:r>
          </a:p>
          <a:p>
            <a:pPr marL="457200" indent="-457200">
              <a:buFont typeface="Arial" panose="020B0604020202020204" pitchFamily="34" charset="0"/>
              <a:buChar char="•"/>
            </a:pPr>
            <a:r>
              <a:rPr lang="en-US" sz="2600" dirty="0">
                <a:solidFill>
                  <a:schemeClr val="tx2"/>
                </a:solidFill>
              </a:rPr>
              <a:t>Currently, marijuana is commonly used in the US, especially by adolescents. </a:t>
            </a:r>
          </a:p>
          <a:p>
            <a:pPr marL="457200" indent="-457200">
              <a:buFont typeface="Arial" panose="020B0604020202020204" pitchFamily="34" charset="0"/>
              <a:buChar char="•"/>
            </a:pPr>
            <a:r>
              <a:rPr lang="en-US" sz="2600" dirty="0">
                <a:solidFill>
                  <a:schemeClr val="tx2"/>
                </a:solidFill>
              </a:rPr>
              <a:t>Recreational cannabis has been legalized or decriminalized in 31 US states and medical cannabis is available in 36 US states. </a:t>
            </a:r>
          </a:p>
          <a:p>
            <a:pPr marL="457200" indent="-457200">
              <a:buFont typeface="Arial" panose="020B0604020202020204" pitchFamily="34" charset="0"/>
              <a:buChar char="•"/>
            </a:pPr>
            <a:r>
              <a:rPr lang="en-US" sz="2600" dirty="0">
                <a:solidFill>
                  <a:schemeClr val="tx2"/>
                </a:solidFill>
              </a:rPr>
              <a:t>Medical cannabis has strong evidence for the treatment of pain in adults; chemotherapy-induced nausea and vomiting and spasticity associated with multiple sclerosis.</a:t>
            </a:r>
          </a:p>
          <a:p>
            <a:endParaRPr lang="en-US" sz="2800" dirty="0"/>
          </a:p>
          <a:p>
            <a:endParaRPr lang="en-US" sz="2800" dirty="0"/>
          </a:p>
          <a:p>
            <a:endParaRPr lang="en-US" dirty="0"/>
          </a:p>
        </p:txBody>
      </p:sp>
    </p:spTree>
    <p:extLst>
      <p:ext uri="{BB962C8B-B14F-4D97-AF65-F5344CB8AC3E}">
        <p14:creationId xmlns:p14="http://schemas.microsoft.com/office/powerpoint/2010/main" val="34427867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610500" y="31865"/>
            <a:ext cx="10908792" cy="548640"/>
          </a:xfrm>
        </p:spPr>
        <p:txBody>
          <a:bodyPr>
            <a:normAutofit/>
          </a:bodyPr>
          <a:lstStyle/>
          <a:p>
            <a:pPr algn="ctr"/>
            <a:r>
              <a:rPr lang="en-US" dirty="0"/>
              <a:t>Main Points (2)</a:t>
            </a:r>
          </a:p>
        </p:txBody>
      </p:sp>
      <p:sp>
        <p:nvSpPr>
          <p:cNvPr id="6" name="Content Placeholder 2"/>
          <p:cNvSpPr>
            <a:spLocks noGrp="1"/>
          </p:cNvSpPr>
          <p:nvPr>
            <p:ph type="body" sz="quarter" idx="10"/>
          </p:nvPr>
        </p:nvSpPr>
        <p:spPr>
          <a:xfrm>
            <a:off x="0" y="580506"/>
            <a:ext cx="12192000" cy="6140334"/>
          </a:xfrm>
        </p:spPr>
        <p:txBody>
          <a:bodyPr>
            <a:normAutofit/>
          </a:bodyPr>
          <a:lstStyle/>
          <a:p>
            <a:pPr marL="457200" indent="-457200">
              <a:buFont typeface="Arial" panose="020B0604020202020204" pitchFamily="34" charset="0"/>
              <a:buChar char="•"/>
            </a:pPr>
            <a:r>
              <a:rPr lang="en-US" sz="2800" dirty="0">
                <a:solidFill>
                  <a:schemeClr val="tx2"/>
                </a:solidFill>
              </a:rPr>
              <a:t>There is insufficient evidence to presently endorse the use of cannabis as a method of treatment for any recognized psychiatric disorder. </a:t>
            </a:r>
          </a:p>
          <a:p>
            <a:pPr marL="457200" indent="-457200">
              <a:buFont typeface="Arial" panose="020B0604020202020204" pitchFamily="34" charset="0"/>
              <a:buChar char="•"/>
            </a:pPr>
            <a:r>
              <a:rPr lang="en-US" sz="2800" dirty="0">
                <a:solidFill>
                  <a:schemeClr val="tx2"/>
                </a:solidFill>
              </a:rPr>
              <a:t>Surveys of medical cannabis users find elevated levels of mental health symptoms and mental health diagnoses among people who use medical cannabis.  </a:t>
            </a:r>
          </a:p>
          <a:p>
            <a:pPr marL="457200" indent="-457200">
              <a:buFont typeface="Arial" panose="020B0604020202020204" pitchFamily="34" charset="0"/>
              <a:buChar char="•"/>
            </a:pPr>
            <a:r>
              <a:rPr lang="en-US" sz="2800" dirty="0">
                <a:solidFill>
                  <a:schemeClr val="tx2"/>
                </a:solidFill>
              </a:rPr>
              <a:t>There is substantial evidence of adverse effects of cannabis on cognition and mental health, especially for adolescents.  </a:t>
            </a:r>
          </a:p>
          <a:p>
            <a:pPr marL="457200" indent="-457200">
              <a:buFont typeface="Arial" panose="020B0604020202020204" pitchFamily="34" charset="0"/>
              <a:buChar char="•"/>
            </a:pPr>
            <a:r>
              <a:rPr lang="en-US" sz="2800" dirty="0">
                <a:solidFill>
                  <a:schemeClr val="tx2"/>
                </a:solidFill>
              </a:rPr>
              <a:t>The cognitive and mental health effects of cannabis on adolescents is consistent with preliminary studies that document disruption in brain development when cannabis is used by adolescents.  </a:t>
            </a:r>
          </a:p>
          <a:p>
            <a:endParaRPr lang="en-US" sz="2800" dirty="0"/>
          </a:p>
          <a:p>
            <a:endParaRPr lang="en-US" sz="2800" dirty="0"/>
          </a:p>
          <a:p>
            <a:endParaRPr lang="en-US" sz="2800" dirty="0"/>
          </a:p>
          <a:p>
            <a:endParaRPr lang="en-US" sz="2800" dirty="0"/>
          </a:p>
          <a:p>
            <a:endParaRPr lang="en-US" dirty="0"/>
          </a:p>
        </p:txBody>
      </p:sp>
    </p:spTree>
    <p:extLst>
      <p:ext uri="{BB962C8B-B14F-4D97-AF65-F5344CB8AC3E}">
        <p14:creationId xmlns:p14="http://schemas.microsoft.com/office/powerpoint/2010/main" val="24603921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3E0A24-F0A3-F04C-BD7C-42987DA04792}"/>
              </a:ext>
            </a:extLst>
          </p:cNvPr>
          <p:cNvSpPr>
            <a:spLocks noGrp="1"/>
          </p:cNvSpPr>
          <p:nvPr>
            <p:ph type="body" sz="quarter" idx="12"/>
          </p:nvPr>
        </p:nvSpPr>
        <p:spPr/>
        <p:txBody>
          <a:bodyPr/>
          <a:lstStyle/>
          <a:p>
            <a:r>
              <a:rPr lang="en-US" dirty="0"/>
              <a:t>Thank you!</a:t>
            </a:r>
          </a:p>
        </p:txBody>
      </p:sp>
    </p:spTree>
    <p:extLst>
      <p:ext uri="{BB962C8B-B14F-4D97-AF65-F5344CB8AC3E}">
        <p14:creationId xmlns:p14="http://schemas.microsoft.com/office/powerpoint/2010/main" val="23123432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Tree>
    <p:extLst>
      <p:ext uri="{BB962C8B-B14F-4D97-AF65-F5344CB8AC3E}">
        <p14:creationId xmlns:p14="http://schemas.microsoft.com/office/powerpoint/2010/main" val="24155384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94684-BF1E-3B49-ABFC-A8C96133A5CE}"/>
              </a:ext>
            </a:extLst>
          </p:cNvPr>
          <p:cNvSpPr>
            <a:spLocks noGrp="1"/>
          </p:cNvSpPr>
          <p:nvPr>
            <p:ph type="title"/>
          </p:nvPr>
        </p:nvSpPr>
        <p:spPr>
          <a:xfrm>
            <a:off x="640078" y="38974"/>
            <a:ext cx="10908792" cy="548640"/>
          </a:xfrm>
        </p:spPr>
        <p:txBody>
          <a:bodyPr>
            <a:normAutofit/>
          </a:bodyPr>
          <a:lstStyle/>
          <a:p>
            <a:pPr algn="ctr"/>
            <a:r>
              <a:rPr lang="en-US" dirty="0"/>
              <a:t>Countries with Legalized Medical Cannabis</a:t>
            </a:r>
          </a:p>
        </p:txBody>
      </p:sp>
      <p:sp>
        <p:nvSpPr>
          <p:cNvPr id="4" name="Content Placeholder 3">
            <a:extLst>
              <a:ext uri="{FF2B5EF4-FFF2-40B4-BE49-F238E27FC236}">
                <a16:creationId xmlns:a16="http://schemas.microsoft.com/office/drawing/2014/main" id="{6E35A5E2-F7CB-6244-B31E-7E23DD8AEE65}"/>
              </a:ext>
            </a:extLst>
          </p:cNvPr>
          <p:cNvSpPr>
            <a:spLocks noGrp="1"/>
          </p:cNvSpPr>
          <p:nvPr>
            <p:ph idx="11"/>
          </p:nvPr>
        </p:nvSpPr>
        <p:spPr>
          <a:xfrm>
            <a:off x="179882" y="704538"/>
            <a:ext cx="11887200" cy="6014052"/>
          </a:xfrm>
        </p:spPr>
        <p:txBody>
          <a:bodyPr>
            <a:normAutofit fontScale="70000" lnSpcReduction="20000"/>
          </a:bodyPr>
          <a:lstStyle/>
          <a:p>
            <a:r>
              <a:rPr lang="en-US" sz="3300" dirty="0"/>
              <a:t>Europe: (18) Croatia, Cyprus, Czech Republic, Denmark, Finland, Germany, Greece, Italy, Luxembourg, Macedonia, Malta, Netherlands, Norway, Poland, Romania, San Marino, Switzerland and Turkey.</a:t>
            </a:r>
          </a:p>
          <a:p>
            <a:r>
              <a:rPr lang="en-US" sz="3300" dirty="0"/>
              <a:t> South America: (5) Argentina, Chile, Colombia, Peru and Uruguay.</a:t>
            </a:r>
          </a:p>
          <a:p>
            <a:r>
              <a:rPr lang="en-US" sz="3300" dirty="0"/>
              <a:t>North America: (3) Canada, Jamaica and Mexico.</a:t>
            </a:r>
          </a:p>
          <a:p>
            <a:r>
              <a:rPr lang="en-US" sz="3300" dirty="0"/>
              <a:t>Africa: (2) Lesotho and Zimbabwe. </a:t>
            </a:r>
          </a:p>
          <a:p>
            <a:r>
              <a:rPr lang="en-US" sz="3300" dirty="0"/>
              <a:t>Australia: (1)</a:t>
            </a:r>
          </a:p>
          <a:p>
            <a:r>
              <a:rPr lang="en-US" sz="3300" dirty="0"/>
              <a:t>Asia: (1) Israel</a:t>
            </a:r>
          </a:p>
          <a:p>
            <a:r>
              <a:rPr lang="en-US" sz="3300" dirty="0"/>
              <a:t>Canada, Netherlands, Australia and Israel are only countries that are allowed to export medical cannabis.</a:t>
            </a:r>
          </a:p>
          <a:p>
            <a:pPr marL="0" indent="0" algn="ctr">
              <a:buNone/>
            </a:pPr>
            <a:endParaRPr lang="en-US" sz="3300" dirty="0">
              <a:solidFill>
                <a:srgbClr val="00B0F0"/>
              </a:solidFill>
            </a:endParaRPr>
          </a:p>
          <a:p>
            <a:pPr marL="0" indent="0" algn="ctr">
              <a:buNone/>
            </a:pPr>
            <a:r>
              <a:rPr lang="en-US" sz="3300" dirty="0">
                <a:solidFill>
                  <a:srgbClr val="00B0F0"/>
                </a:solidFill>
              </a:rPr>
              <a:t>https://www.fool.com/investing/2018/07/21/these-30-countries-have-legalized-medical-marijuan.aspx</a:t>
            </a:r>
          </a:p>
          <a:p>
            <a:pPr marL="0" indent="0" algn="ctr">
              <a:buNone/>
            </a:pPr>
            <a:endParaRPr lang="en-US" sz="1600" dirty="0">
              <a:solidFill>
                <a:srgbClr val="00B0F0"/>
              </a:solidFill>
            </a:endParaRPr>
          </a:p>
        </p:txBody>
      </p:sp>
    </p:spTree>
    <p:extLst>
      <p:ext uri="{BB962C8B-B14F-4D97-AF65-F5344CB8AC3E}">
        <p14:creationId xmlns:p14="http://schemas.microsoft.com/office/powerpoint/2010/main" val="16052929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2340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428719"/>
          </a:xfrm>
        </p:spPr>
        <p:txBody>
          <a:bodyPr>
            <a:normAutofit fontScale="90000"/>
          </a:bodyPr>
          <a:lstStyle/>
          <a:p>
            <a:pPr algn="ctr"/>
            <a:r>
              <a:rPr lang="en-US" dirty="0"/>
              <a:t>Marijuana is Commonly Used, Especially By Adolescents </a:t>
            </a:r>
            <a:br>
              <a:rPr lang="en-US" dirty="0"/>
            </a:br>
            <a:endParaRPr lang="en-US" dirty="0"/>
          </a:p>
        </p:txBody>
      </p:sp>
      <p:sp>
        <p:nvSpPr>
          <p:cNvPr id="3" name="Content Placeholder 2"/>
          <p:cNvSpPr>
            <a:spLocks noGrp="1"/>
          </p:cNvSpPr>
          <p:nvPr>
            <p:ph idx="1"/>
          </p:nvPr>
        </p:nvSpPr>
        <p:spPr>
          <a:xfrm>
            <a:off x="0" y="548641"/>
            <a:ext cx="11992131" cy="5987070"/>
          </a:xfrm>
        </p:spPr>
        <p:txBody>
          <a:bodyPr>
            <a:normAutofit fontScale="92500" lnSpcReduction="10000"/>
          </a:bodyPr>
          <a:lstStyle/>
          <a:p>
            <a:pPr marL="342900" indent="-342900">
              <a:buFont typeface="Arial" panose="020B0604020202020204" pitchFamily="34" charset="0"/>
              <a:buChar char="•"/>
            </a:pPr>
            <a:r>
              <a:rPr lang="en-US" sz="2600" dirty="0"/>
              <a:t>Drug use disorders are observed primarily among adolescents and younger adults.</a:t>
            </a:r>
          </a:p>
          <a:p>
            <a:pPr marL="342900" indent="-342900">
              <a:buFont typeface="Arial" panose="020B0604020202020204" pitchFamily="34" charset="0"/>
              <a:buChar char="•"/>
            </a:pPr>
            <a:r>
              <a:rPr lang="en-US" sz="2600" dirty="0"/>
              <a:t> Marijuana is the most commonly used addictive drug after tobacco and alcohol (SAMSHA, 2018).</a:t>
            </a:r>
          </a:p>
          <a:p>
            <a:pPr marL="342900" indent="-342900">
              <a:buFont typeface="Arial" panose="020B0604020202020204" pitchFamily="34" charset="0"/>
              <a:buChar char="•"/>
            </a:pPr>
            <a:r>
              <a:rPr lang="en-US" sz="2600" dirty="0"/>
              <a:t>Among </a:t>
            </a:r>
            <a:r>
              <a:rPr lang="en-US" sz="2600" b="1" dirty="0"/>
              <a:t>people aged 12 or older in 2020, 17.9% (or about 49.6 million people) reported using cannabis in the past 12 months</a:t>
            </a:r>
            <a:r>
              <a:rPr lang="en-US" sz="2600" dirty="0"/>
              <a:t> (2020 National Survey on Drug Use and Health).</a:t>
            </a:r>
          </a:p>
          <a:p>
            <a:pPr marL="342900" indent="-342900">
              <a:buFont typeface="Arial" panose="020B0604020202020204" pitchFamily="34" charset="0"/>
              <a:buChar char="•"/>
            </a:pPr>
            <a:r>
              <a:rPr lang="en-US" sz="2600" dirty="0"/>
              <a:t>In 2021, an estimated </a:t>
            </a:r>
            <a:r>
              <a:rPr lang="en-US" sz="2600" b="1" dirty="0"/>
              <a:t>7.1% of 8</a:t>
            </a:r>
            <a:r>
              <a:rPr lang="en-US" sz="2600" b="1" baseline="30000" dirty="0"/>
              <a:t>th</a:t>
            </a:r>
            <a:r>
              <a:rPr lang="en-US" sz="2600" b="1" dirty="0"/>
              <a:t> graders, 17.3% of 10</a:t>
            </a:r>
            <a:r>
              <a:rPr lang="en-US" sz="2600" b="1" baseline="30000" dirty="0"/>
              <a:t>th</a:t>
            </a:r>
            <a:r>
              <a:rPr lang="en-US" sz="2600" b="1" dirty="0"/>
              <a:t> graders, and 30.5% of 12</a:t>
            </a:r>
            <a:r>
              <a:rPr lang="en-US" sz="2600" b="1" baseline="30000" dirty="0"/>
              <a:t>th</a:t>
            </a:r>
            <a:r>
              <a:rPr lang="en-US" sz="2600" b="1" dirty="0"/>
              <a:t> graders reported using cannabis/hashish in the past 12 months </a:t>
            </a:r>
            <a:r>
              <a:rPr lang="en-US" sz="2600" dirty="0"/>
              <a:t>(2021 Monitoring the Future Survey).</a:t>
            </a:r>
          </a:p>
          <a:p>
            <a:pPr marL="342900" indent="-342900">
              <a:buFont typeface="Arial" panose="020B0604020202020204" pitchFamily="34" charset="0"/>
              <a:buChar char="•"/>
            </a:pPr>
            <a:r>
              <a:rPr lang="en-US" sz="2600" dirty="0"/>
              <a:t>Among people aged 12 or older in 2020, an estimated </a:t>
            </a:r>
            <a:r>
              <a:rPr lang="en-US" sz="2600" b="1" dirty="0"/>
              <a:t>5.1% (or about 14.2 million people) had a cannabis use disorder in the past 12 months</a:t>
            </a:r>
            <a:r>
              <a:rPr lang="en-US" sz="2600" dirty="0"/>
              <a:t> (2020 National Survey on Drug Use and Health). </a:t>
            </a:r>
            <a:r>
              <a:rPr lang="en-US" sz="2400" dirty="0"/>
              <a:t> </a:t>
            </a:r>
          </a:p>
          <a:p>
            <a:pPr marL="1828800" lvl="4" indent="0">
              <a:buNone/>
            </a:pPr>
            <a:r>
              <a:rPr lang="en-US" dirty="0">
                <a:solidFill>
                  <a:srgbClr val="00B0F0"/>
                </a:solidFill>
              </a:rPr>
              <a:t>https://www.drugabuse.gov/publications/research-reports/marijuana/what-scope-marijuana-use-in-united-states</a:t>
            </a:r>
          </a:p>
        </p:txBody>
      </p:sp>
      <p:sp>
        <p:nvSpPr>
          <p:cNvPr id="4" name="Slide Number Placeholder 3"/>
          <p:cNvSpPr>
            <a:spLocks noGrp="1"/>
          </p:cNvSpPr>
          <p:nvPr>
            <p:ph type="sldNum" sz="quarter" idx="12"/>
          </p:nvPr>
        </p:nvSpPr>
        <p:spPr/>
        <p:txBody>
          <a:bodyPr/>
          <a:lstStyle/>
          <a:p>
            <a:fld id="{4E46249D-581C-4C8F-83DD-B87371934A8D}" type="slidenum">
              <a:rPr lang="en-US" smtClean="0"/>
              <a:t>5</a:t>
            </a:fld>
            <a:endParaRPr lang="en-US" dirty="0"/>
          </a:p>
        </p:txBody>
      </p:sp>
    </p:spTree>
    <p:extLst>
      <p:ext uri="{BB962C8B-B14F-4D97-AF65-F5344CB8AC3E}">
        <p14:creationId xmlns:p14="http://schemas.microsoft.com/office/powerpoint/2010/main" val="24887152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48721" y="6488667"/>
            <a:ext cx="2898099" cy="348347"/>
          </a:xfrm>
        </p:spPr>
        <p:txBody>
          <a:bodyPr>
            <a:normAutofit/>
          </a:bodyPr>
          <a:lstStyle/>
          <a:p>
            <a:pPr algn="ctr"/>
            <a:r>
              <a:rPr lang="en-US" sz="1800" b="0" dirty="0">
                <a:solidFill>
                  <a:schemeClr val="tx1"/>
                </a:solidFill>
              </a:rPr>
              <a:t>Ritchie &amp; </a:t>
            </a:r>
            <a:r>
              <a:rPr lang="en-US" sz="1800" b="0" dirty="0" err="1">
                <a:solidFill>
                  <a:schemeClr val="tx1"/>
                </a:solidFill>
              </a:rPr>
              <a:t>Roser</a:t>
            </a:r>
            <a:r>
              <a:rPr lang="en-US" sz="1800" b="0" dirty="0">
                <a:solidFill>
                  <a:schemeClr val="tx1"/>
                </a:solidFill>
              </a:rPr>
              <a:t>. 2019</a:t>
            </a:r>
          </a:p>
        </p:txBody>
      </p:sp>
      <p:sp>
        <p:nvSpPr>
          <p:cNvPr id="4" name="Slide Number Placeholder 3"/>
          <p:cNvSpPr>
            <a:spLocks noGrp="1"/>
          </p:cNvSpPr>
          <p:nvPr>
            <p:ph type="sldNum" sz="quarter" idx="12"/>
          </p:nvPr>
        </p:nvSpPr>
        <p:spPr/>
        <p:txBody>
          <a:bodyPr/>
          <a:lstStyle/>
          <a:p>
            <a:fld id="{4E46249D-581C-4C8F-83DD-B87371934A8D}" type="slidenum">
              <a:rPr lang="en-US" smtClean="0"/>
              <a:t>6</a:t>
            </a:fld>
            <a:endParaRPr lang="en-US" dirty="0"/>
          </a:p>
        </p:txBody>
      </p:sp>
      <p:pic>
        <p:nvPicPr>
          <p:cNvPr id="6" name="Content Placeholder 5"/>
          <p:cNvPicPr>
            <a:picLocks noGrp="1" noChangeAspect="1"/>
          </p:cNvPicPr>
          <p:nvPr>
            <p:ph idx="1"/>
          </p:nvPr>
        </p:nvPicPr>
        <p:blipFill>
          <a:blip r:embed="rId2"/>
          <a:stretch>
            <a:fillRect/>
          </a:stretch>
        </p:blipFill>
        <p:spPr>
          <a:xfrm>
            <a:off x="2535178" y="0"/>
            <a:ext cx="9129011" cy="6444008"/>
          </a:xfrm>
          <a:prstGeom prst="rect">
            <a:avLst/>
          </a:prstGeom>
        </p:spPr>
      </p:pic>
      <p:sp>
        <p:nvSpPr>
          <p:cNvPr id="7" name="TextBox 6"/>
          <p:cNvSpPr txBox="1"/>
          <p:nvPr/>
        </p:nvSpPr>
        <p:spPr>
          <a:xfrm>
            <a:off x="5040027" y="6488668"/>
            <a:ext cx="4275529" cy="369332"/>
          </a:xfrm>
          <a:prstGeom prst="rect">
            <a:avLst/>
          </a:prstGeom>
          <a:noFill/>
        </p:spPr>
        <p:txBody>
          <a:bodyPr wrap="none" rtlCol="0">
            <a:spAutoFit/>
          </a:bodyPr>
          <a:lstStyle/>
          <a:p>
            <a:r>
              <a:rPr lang="en-US" dirty="0">
                <a:solidFill>
                  <a:srgbClr val="00B0F0"/>
                </a:solidFill>
              </a:rPr>
              <a:t>https://ourworldindata.org/illicit-drug-use</a:t>
            </a:r>
          </a:p>
        </p:txBody>
      </p:sp>
      <p:sp>
        <p:nvSpPr>
          <p:cNvPr id="3" name="TextBox 2"/>
          <p:cNvSpPr txBox="1"/>
          <p:nvPr/>
        </p:nvSpPr>
        <p:spPr>
          <a:xfrm>
            <a:off x="238771" y="770021"/>
            <a:ext cx="2053191" cy="4308872"/>
          </a:xfrm>
          <a:prstGeom prst="rect">
            <a:avLst/>
          </a:prstGeom>
          <a:noFill/>
        </p:spPr>
        <p:txBody>
          <a:bodyPr wrap="none" lIns="0" tIns="0" rIns="0" bIns="0" rtlCol="0">
            <a:spAutoFit/>
          </a:bodyPr>
          <a:lstStyle/>
          <a:p>
            <a:pPr algn="ctr"/>
            <a:r>
              <a:rPr lang="en-US" sz="2800" dirty="0"/>
              <a:t>Drug Use </a:t>
            </a:r>
          </a:p>
          <a:p>
            <a:pPr algn="ctr"/>
            <a:r>
              <a:rPr lang="en-US" sz="2800" dirty="0"/>
              <a:t>Disorders</a:t>
            </a:r>
          </a:p>
          <a:p>
            <a:pPr algn="ctr"/>
            <a:r>
              <a:rPr lang="en-US" sz="2800" dirty="0"/>
              <a:t>Are </a:t>
            </a:r>
          </a:p>
          <a:p>
            <a:pPr algn="ctr"/>
            <a:r>
              <a:rPr lang="en-US" sz="2800" dirty="0"/>
              <a:t>Observed </a:t>
            </a:r>
          </a:p>
          <a:p>
            <a:pPr algn="ctr"/>
            <a:r>
              <a:rPr lang="en-US" sz="2800" dirty="0"/>
              <a:t>Primarily </a:t>
            </a:r>
          </a:p>
          <a:p>
            <a:pPr algn="ctr"/>
            <a:r>
              <a:rPr lang="en-US" sz="2800" dirty="0"/>
              <a:t>Among</a:t>
            </a:r>
          </a:p>
          <a:p>
            <a:pPr algn="ctr"/>
            <a:r>
              <a:rPr lang="en-US" sz="2800" dirty="0"/>
              <a:t>Adolescents </a:t>
            </a:r>
          </a:p>
          <a:p>
            <a:pPr algn="ctr"/>
            <a:r>
              <a:rPr lang="en-US" sz="2800" dirty="0"/>
              <a:t>And</a:t>
            </a:r>
          </a:p>
          <a:p>
            <a:pPr algn="ctr"/>
            <a:r>
              <a:rPr lang="en-US" sz="2800" dirty="0"/>
              <a:t>Younger </a:t>
            </a:r>
          </a:p>
          <a:p>
            <a:pPr algn="ctr"/>
            <a:r>
              <a:rPr lang="en-US" sz="2800" dirty="0"/>
              <a:t>Adults.</a:t>
            </a:r>
            <a:endParaRPr lang="en-US" sz="2800" dirty="0">
              <a:solidFill>
                <a:schemeClr val="tx2"/>
              </a:solidFill>
            </a:endParaRPr>
          </a:p>
        </p:txBody>
      </p:sp>
    </p:spTree>
    <p:extLst>
      <p:ext uri="{BB962C8B-B14F-4D97-AF65-F5344CB8AC3E}">
        <p14:creationId xmlns:p14="http://schemas.microsoft.com/office/powerpoint/2010/main" val="402595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116923"/>
            <a:ext cx="10908791" cy="548640"/>
          </a:xfrm>
        </p:spPr>
        <p:txBody>
          <a:bodyPr/>
          <a:lstStyle/>
          <a:p>
            <a:pPr algn="ctr"/>
            <a:r>
              <a:rPr lang="en-US" dirty="0"/>
              <a:t>Recreational Cannabis </a:t>
            </a:r>
          </a:p>
        </p:txBody>
      </p:sp>
      <p:sp>
        <p:nvSpPr>
          <p:cNvPr id="3" name="Content Placeholder 2"/>
          <p:cNvSpPr>
            <a:spLocks noGrp="1"/>
          </p:cNvSpPr>
          <p:nvPr>
            <p:ph idx="1"/>
          </p:nvPr>
        </p:nvSpPr>
        <p:spPr>
          <a:xfrm>
            <a:off x="270797" y="989349"/>
            <a:ext cx="11647356" cy="5501392"/>
          </a:xfrm>
        </p:spPr>
        <p:txBody>
          <a:bodyPr>
            <a:normAutofit/>
          </a:bodyPr>
          <a:lstStyle/>
          <a:p>
            <a:pPr marL="457200" indent="-457200">
              <a:buFont typeface="Arial" panose="020B0604020202020204" pitchFamily="34" charset="0"/>
              <a:buChar char="•"/>
            </a:pPr>
            <a:r>
              <a:rPr lang="en-US" sz="2800" dirty="0"/>
              <a:t>Countries that have </a:t>
            </a:r>
            <a:r>
              <a:rPr lang="en-US" sz="2800" b="1" dirty="0"/>
              <a:t>legalized recreational use of cannabis </a:t>
            </a:r>
            <a:r>
              <a:rPr lang="en-US" sz="2800" dirty="0"/>
              <a:t>are </a:t>
            </a:r>
            <a:r>
              <a:rPr lang="en-US" sz="2800" b="1" dirty="0"/>
              <a:t>Canada</a:t>
            </a:r>
            <a:r>
              <a:rPr lang="en-US" sz="2800" dirty="0"/>
              <a:t>, Georgia, Malta, </a:t>
            </a:r>
            <a:r>
              <a:rPr lang="en-US" sz="2800" b="1" dirty="0"/>
              <a:t>Mexico</a:t>
            </a:r>
            <a:r>
              <a:rPr lang="en-US" sz="2800" dirty="0"/>
              <a:t>, South Africa, Uruguay and one Australian state,  Capital Territory.</a:t>
            </a:r>
          </a:p>
          <a:p>
            <a:pPr marL="457200" indent="-457200">
              <a:buFont typeface="Arial" panose="020B0604020202020204" pitchFamily="34" charset="0"/>
              <a:buChar char="•"/>
            </a:pPr>
            <a:r>
              <a:rPr lang="en-US" sz="2800" dirty="0"/>
              <a:t>In the US, </a:t>
            </a:r>
            <a:r>
              <a:rPr lang="en-US" sz="2800" b="1" dirty="0"/>
              <a:t>recreational use of cannabis is legalized in 18 states</a:t>
            </a:r>
            <a:r>
              <a:rPr lang="en-US" sz="2800" dirty="0"/>
              <a:t>, the District of Columbia, the Northern Mariana Islands, and Guam. </a:t>
            </a:r>
          </a:p>
          <a:p>
            <a:pPr marL="457200" indent="-457200">
              <a:buFont typeface="Arial" panose="020B0604020202020204" pitchFamily="34" charset="0"/>
              <a:buChar char="•"/>
            </a:pPr>
            <a:r>
              <a:rPr lang="en-US" sz="2800" b="1" dirty="0"/>
              <a:t>Another 13 states </a:t>
            </a:r>
            <a:r>
              <a:rPr lang="en-US" sz="2800" dirty="0"/>
              <a:t>and the U.S. Virgin Islands have </a:t>
            </a:r>
            <a:r>
              <a:rPr lang="en-US" sz="2800" b="1" dirty="0"/>
              <a:t>decriminalized its use.</a:t>
            </a:r>
          </a:p>
          <a:p>
            <a:pPr marL="0" indent="0" algn="ctr">
              <a:buNone/>
            </a:pPr>
            <a:r>
              <a:rPr lang="en-US" sz="2800" dirty="0"/>
              <a:t>National Conference of State Legislatures,  2019 </a:t>
            </a:r>
          </a:p>
        </p:txBody>
      </p:sp>
      <p:sp>
        <p:nvSpPr>
          <p:cNvPr id="4" name="Slide Number Placeholder 3"/>
          <p:cNvSpPr>
            <a:spLocks noGrp="1"/>
          </p:cNvSpPr>
          <p:nvPr>
            <p:ph type="sldNum" sz="quarter" idx="12"/>
          </p:nvPr>
        </p:nvSpPr>
        <p:spPr/>
        <p:txBody>
          <a:bodyPr/>
          <a:lstStyle/>
          <a:p>
            <a:fld id="{4E46249D-581C-4C8F-83DD-B87371934A8D}" type="slidenum">
              <a:rPr lang="en-US" smtClean="0"/>
              <a:t>7</a:t>
            </a:fld>
            <a:endParaRPr lang="en-US" dirty="0"/>
          </a:p>
        </p:txBody>
      </p:sp>
    </p:spTree>
    <p:extLst>
      <p:ext uri="{BB962C8B-B14F-4D97-AF65-F5344CB8AC3E}">
        <p14:creationId xmlns:p14="http://schemas.microsoft.com/office/powerpoint/2010/main" val="25500500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9654" y="257438"/>
            <a:ext cx="10972097" cy="600691"/>
          </a:xfrm>
        </p:spPr>
        <p:txBody>
          <a:bodyPr/>
          <a:lstStyle/>
          <a:p>
            <a:pPr algn="ctr"/>
            <a:r>
              <a:rPr lang="en-US" dirty="0"/>
              <a:t>Medical Cannabis</a:t>
            </a: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05908" y="1052452"/>
            <a:ext cx="5418686" cy="5418686"/>
          </a:xfrm>
        </p:spPr>
      </p:pic>
    </p:spTree>
    <p:extLst>
      <p:ext uri="{BB962C8B-B14F-4D97-AF65-F5344CB8AC3E}">
        <p14:creationId xmlns:p14="http://schemas.microsoft.com/office/powerpoint/2010/main" val="2608564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0" y="26982"/>
            <a:ext cx="10908791" cy="548640"/>
          </a:xfrm>
        </p:spPr>
        <p:txBody>
          <a:bodyPr/>
          <a:lstStyle/>
          <a:p>
            <a:pPr algn="ctr"/>
            <a:r>
              <a:rPr lang="en-US" dirty="0"/>
              <a:t>Medical Cannabis </a:t>
            </a:r>
          </a:p>
        </p:txBody>
      </p:sp>
      <p:sp>
        <p:nvSpPr>
          <p:cNvPr id="3" name="Content Placeholder 2"/>
          <p:cNvSpPr>
            <a:spLocks noGrp="1"/>
          </p:cNvSpPr>
          <p:nvPr>
            <p:ph idx="1"/>
          </p:nvPr>
        </p:nvSpPr>
        <p:spPr>
          <a:xfrm>
            <a:off x="1" y="575623"/>
            <a:ext cx="12192000" cy="6282378"/>
          </a:xfrm>
        </p:spPr>
        <p:txBody>
          <a:bodyPr>
            <a:normAutofit lnSpcReduction="10000"/>
          </a:bodyPr>
          <a:lstStyle/>
          <a:p>
            <a:pPr marL="342900" indent="-342900">
              <a:buFont typeface="Arial" panose="020B0604020202020204" pitchFamily="34" charset="0"/>
              <a:buChar char="•"/>
            </a:pPr>
            <a:r>
              <a:rPr lang="en-US" sz="2800" dirty="0"/>
              <a:t>World wide, thirty countries legalized medical cannabis use, mostly in Europe. (see Appendix for list).</a:t>
            </a:r>
          </a:p>
          <a:p>
            <a:pPr marL="342900" indent="-342900">
              <a:buFont typeface="Arial" panose="020B0604020202020204" pitchFamily="34" charset="0"/>
              <a:buChar char="•"/>
            </a:pPr>
            <a:r>
              <a:rPr lang="en-US" sz="2800" dirty="0"/>
              <a:t>In the United States, </a:t>
            </a:r>
            <a:r>
              <a:rPr lang="en-US" sz="2800" b="1" dirty="0"/>
              <a:t>the use of cannabis for medical purposes is legal in 39 states</a:t>
            </a:r>
            <a:r>
              <a:rPr lang="en-US" sz="2800" dirty="0"/>
              <a:t>, as of December 2022.</a:t>
            </a:r>
          </a:p>
          <a:p>
            <a:pPr marL="342900" indent="-342900">
              <a:buFont typeface="Arial" panose="020B0604020202020204" pitchFamily="34" charset="0"/>
              <a:buChar char="•"/>
            </a:pPr>
            <a:r>
              <a:rPr lang="en-US" sz="2800" dirty="0"/>
              <a:t>There is </a:t>
            </a:r>
            <a:r>
              <a:rPr lang="en-US" sz="2800" b="1" dirty="0"/>
              <a:t>significant variation in medical cannabis laws from state to state</a:t>
            </a:r>
            <a:r>
              <a:rPr lang="en-US" sz="2800" dirty="0"/>
              <a:t>, including how it is produced and distributed, how it can be consumed, and what </a:t>
            </a:r>
            <a:r>
              <a:rPr lang="en-US" sz="2800" b="1" dirty="0"/>
              <a:t>medical conditions it can be used for</a:t>
            </a:r>
            <a:r>
              <a:rPr lang="en-US" sz="2800" dirty="0"/>
              <a:t> (National Conference of State Legislatures, 2018).</a:t>
            </a:r>
          </a:p>
          <a:p>
            <a:pPr marL="342900" indent="-342900">
              <a:buFont typeface="Arial" panose="020B0604020202020204" pitchFamily="34" charset="0"/>
              <a:buChar char="•"/>
            </a:pPr>
            <a:r>
              <a:rPr lang="en-US" sz="2800" dirty="0"/>
              <a:t>Public opinion has evolved in the US regarding the legal status of marijuana for medical purposes, but </a:t>
            </a:r>
            <a:r>
              <a:rPr lang="en-US" sz="2800" b="1" dirty="0"/>
              <a:t>this change has not been guided by advances in scientific knowledge</a:t>
            </a:r>
            <a:r>
              <a:rPr lang="en-US" sz="2800" dirty="0"/>
              <a:t>.</a:t>
            </a:r>
          </a:p>
          <a:p>
            <a:pPr marL="0" indent="0" algn="ctr">
              <a:buNone/>
            </a:pPr>
            <a:r>
              <a:rPr lang="en-US" dirty="0"/>
              <a:t>Wright, 2015; </a:t>
            </a:r>
          </a:p>
          <a:p>
            <a:pPr marL="0" indent="0" algn="ctr">
              <a:buNone/>
            </a:pPr>
            <a:r>
              <a:rPr lang="en-US" dirty="0">
                <a:solidFill>
                  <a:srgbClr val="00B0F0"/>
                </a:solidFill>
              </a:rPr>
              <a:t>https://worldpopulationreview.com/state-rankings/states-with-medical-marijuana</a:t>
            </a:r>
          </a:p>
          <a:p>
            <a:pPr marL="0" indent="0">
              <a:buNone/>
            </a:pPr>
            <a:endParaRPr lang="en-US" dirty="0"/>
          </a:p>
        </p:txBody>
      </p:sp>
    </p:spTree>
    <p:extLst>
      <p:ext uri="{BB962C8B-B14F-4D97-AF65-F5344CB8AC3E}">
        <p14:creationId xmlns:p14="http://schemas.microsoft.com/office/powerpoint/2010/main" val="17073790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relon">
  <a:themeElements>
    <a:clrScheme name="Carelon">
      <a:dk1>
        <a:srgbClr val="5009B5"/>
      </a:dk1>
      <a:lt1>
        <a:srgbClr val="FFFFFF"/>
      </a:lt1>
      <a:dk2>
        <a:srgbClr val="231E33"/>
      </a:dk2>
      <a:lt2>
        <a:srgbClr val="E1EDFF"/>
      </a:lt2>
      <a:accent1>
        <a:srgbClr val="5009B5"/>
      </a:accent1>
      <a:accent2>
        <a:srgbClr val="794CFF"/>
      </a:accent2>
      <a:accent3>
        <a:srgbClr val="2B1B49"/>
      </a:accent3>
      <a:accent4>
        <a:srgbClr val="F5F5F5"/>
      </a:accent4>
      <a:accent5>
        <a:srgbClr val="00BBBA"/>
      </a:accent5>
      <a:accent6>
        <a:srgbClr val="44B8F3"/>
      </a:accent6>
      <a:hlink>
        <a:srgbClr val="0F61FE"/>
      </a:hlink>
      <a:folHlink>
        <a:srgbClr val="7030A0"/>
      </a:folHlink>
    </a:clrScheme>
    <a:fontScheme name="Elevance">
      <a:majorFont>
        <a:latin typeface="Elevance Sans Medium"/>
        <a:ea typeface=""/>
        <a:cs typeface=""/>
      </a:majorFont>
      <a:minorFont>
        <a:latin typeface="Elevan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231E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smtClean="0">
            <a:solidFill>
              <a:schemeClr val="tx2"/>
            </a:solidFill>
          </a:defRPr>
        </a:defPPr>
      </a:lstStyle>
    </a:txDef>
  </a:objectDefaults>
  <a:extraClrSchemeLst/>
  <a:custClrLst>
    <a:custClr name="Purple">
      <a:srgbClr val="5009B5"/>
    </a:custClr>
    <a:custClr name="Light Purple">
      <a:srgbClr val="794CFF"/>
    </a:custClr>
    <a:custClr name="Pale Purple">
      <a:srgbClr val="EBE4FF"/>
    </a:custClr>
    <a:custClr name="Turquoise">
      <a:srgbClr val="00BBBA"/>
    </a:custClr>
    <a:custClr name="Pale Turquoise">
      <a:srgbClr val="D9F5F5"/>
    </a:custClr>
    <a:custClr name="Cyan">
      <a:srgbClr val="44B8F3"/>
    </a:custClr>
    <a:custClr name="Pale Cyan">
      <a:srgbClr val="E1EDFF"/>
    </a:custClr>
    <a:custClr name="Dark Gray">
      <a:srgbClr val="231E33"/>
    </a:custClr>
    <a:custClr name="Pale Gray">
      <a:srgbClr val="F5F5F5"/>
    </a:custClr>
  </a:custClrLst>
  <a:extLst>
    <a:ext uri="{05A4C25C-085E-4340-85A3-A5531E510DB2}">
      <thm15:themeFamily xmlns:thm15="http://schemas.microsoft.com/office/thememl/2012/main" name="Presentation6" id="{429BBD9A-D0FD-D441-86DA-971531B2C3DE}" vid="{D90DB423-D442-0545-8FEF-B4D2262F0D7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Elevance Sans"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7209AA1A61D7B408C081C69C51E2085" ma:contentTypeVersion="0" ma:contentTypeDescription="Create a new document." ma:contentTypeScope="" ma:versionID="8a67e3c24a829582398e61fc12647e26">
  <xsd:schema xmlns:xsd="http://www.w3.org/2001/XMLSchema" xmlns:xs="http://www.w3.org/2001/XMLSchema" xmlns:p="http://schemas.microsoft.com/office/2006/metadata/properties" targetNamespace="http://schemas.microsoft.com/office/2006/metadata/properties" ma:root="true" ma:fieldsID="0967b7be50301903c78f9c39c6fd9af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E2254D-42A2-410F-8213-DF3BC77F61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7C0A076-1BB0-4104-8BB5-0ECF7CDB5E02}">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3A879919-1E6C-43A5-8596-997C9049FE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arelon</Template>
  <TotalTime>2125</TotalTime>
  <Words>4745</Words>
  <Application>Microsoft Macintosh PowerPoint</Application>
  <PresentationFormat>Widescreen</PresentationFormat>
  <Paragraphs>303</Paragraphs>
  <Slides>45</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1" baseType="lpstr">
      <vt:lpstr>Elevance Sans Italic</vt:lpstr>
      <vt:lpstr>Elevance Sans Medium</vt:lpstr>
      <vt:lpstr>Arial</vt:lpstr>
      <vt:lpstr>Elevance Sans</vt:lpstr>
      <vt:lpstr>Carelon</vt:lpstr>
      <vt:lpstr>think-cell Slide</vt:lpstr>
      <vt:lpstr>Medical Cannabis:  Update</vt:lpstr>
      <vt:lpstr>Educational Objectives</vt:lpstr>
      <vt:lpstr>Support for Legal Cannabis May Have Peaked at Record High of 68% On November, 2021   </vt:lpstr>
      <vt:lpstr>Changes in US Marijuana Use 2001 Through 2013</vt:lpstr>
      <vt:lpstr>Marijuana is Commonly Used, Especially By Adolescents  </vt:lpstr>
      <vt:lpstr>Ritchie &amp; Roser. 2019</vt:lpstr>
      <vt:lpstr>Recreational Cannabis </vt:lpstr>
      <vt:lpstr>Medical Cannabis</vt:lpstr>
      <vt:lpstr>Medical Cannabis </vt:lpstr>
      <vt:lpstr>Cannabis Is Chemically Complex</vt:lpstr>
      <vt:lpstr>Cannabis THC Content Has Increased Over Since The 80’s</vt:lpstr>
      <vt:lpstr>The Endocannabinoid System (ECS) Is Complex</vt:lpstr>
      <vt:lpstr>Location of CB1 Receptors and Functions</vt:lpstr>
      <vt:lpstr>Medical Marijuana - Hawaii</vt:lpstr>
      <vt:lpstr>Hawaii Medical Cannabis: Eligible Diagnoses</vt:lpstr>
      <vt:lpstr>Hawaii Medical Cannabis: Eligible Diagnoses (2)</vt:lpstr>
      <vt:lpstr>Medical Cannabis Evidence Review</vt:lpstr>
      <vt:lpstr>Medical Cannabis Evidence Review (2)</vt:lpstr>
      <vt:lpstr>Medical Cannabis Evidence Review: Mental Health</vt:lpstr>
      <vt:lpstr>Medical Cannabis Evidence Review: Mental Health (2)</vt:lpstr>
      <vt:lpstr>Mental illness Among Medical Cannabis Users</vt:lpstr>
      <vt:lpstr>Medical Cannabis May Benefit But Adverse Effects Are Common</vt:lpstr>
      <vt:lpstr>Cannabinoids Adversely Affect Human Cognition </vt:lpstr>
      <vt:lpstr>Cannabinoids Adversely Affect Human Cognition (2)</vt:lpstr>
      <vt:lpstr>Cannabinoids Adversely Affect Human Cognition (3)</vt:lpstr>
      <vt:lpstr>Cannabis and Driving</vt:lpstr>
      <vt:lpstr>Cannabis and Driving (2)</vt:lpstr>
      <vt:lpstr>Cannabis and Driving (3)</vt:lpstr>
      <vt:lpstr>Cannabis Use and Risk of Psychosis</vt:lpstr>
      <vt:lpstr>Cannabis Use and Risk of Psychosis (2)</vt:lpstr>
      <vt:lpstr>Human Adolescent Brain Development Is  Crucial To Adult Functioning</vt:lpstr>
      <vt:lpstr>Human Adolescent Brain Development Is Crucial To Adult Functioning (2)</vt:lpstr>
      <vt:lpstr>Human Adolescent Brain Development  Is Crucial To Adult Functioning (3)</vt:lpstr>
      <vt:lpstr>Cannabis Use May Disrupt Adolescent Brain Development </vt:lpstr>
      <vt:lpstr>Cannabis Use and the Adolescent Brain </vt:lpstr>
      <vt:lpstr>Cannabis Use and Adolescent Brain (2) </vt:lpstr>
      <vt:lpstr>Cannabis Use and Adolescent Brain (2) </vt:lpstr>
      <vt:lpstr>Adolescent Cannabis Use and Mental Health  </vt:lpstr>
      <vt:lpstr>Adolescent Cannabis Use and Mental Health (2) </vt:lpstr>
      <vt:lpstr>Main Points</vt:lpstr>
      <vt:lpstr>Main Points (2)</vt:lpstr>
      <vt:lpstr>PowerPoint Presentation</vt:lpstr>
      <vt:lpstr>Appendix</vt:lpstr>
      <vt:lpstr>Countries with Legalized Medical Cannabi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r presentation template</dc:title>
  <dc:creator>Abbey Bumbledare</dc:creator>
  <cp:lastModifiedBy>Summer Mochida-Meek</cp:lastModifiedBy>
  <cp:revision>66</cp:revision>
  <dcterms:created xsi:type="dcterms:W3CDTF">2022-12-14T19:38:23Z</dcterms:created>
  <dcterms:modified xsi:type="dcterms:W3CDTF">2023-05-02T22:5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209AA1A61D7B408C081C69C51E2085</vt:lpwstr>
  </property>
</Properties>
</file>